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</p:sldMasterIdLst>
  <p:notesMasterIdLst>
    <p:notesMasterId r:id="rId73"/>
  </p:notesMasterIdLst>
  <p:sldIdLst>
    <p:sldId id="258" r:id="rId5"/>
    <p:sldId id="636140500" r:id="rId6"/>
    <p:sldId id="636140533" r:id="rId7"/>
    <p:sldId id="527" r:id="rId8"/>
    <p:sldId id="636140535" r:id="rId9"/>
    <p:sldId id="559" r:id="rId10"/>
    <p:sldId id="599" r:id="rId11"/>
    <p:sldId id="636140536" r:id="rId12"/>
    <p:sldId id="636140548" r:id="rId13"/>
    <p:sldId id="636140546" r:id="rId14"/>
    <p:sldId id="636140542" r:id="rId15"/>
    <p:sldId id="636140547" r:id="rId16"/>
    <p:sldId id="401" r:id="rId17"/>
    <p:sldId id="636140596" r:id="rId18"/>
    <p:sldId id="636140550" r:id="rId19"/>
    <p:sldId id="636140551" r:id="rId20"/>
    <p:sldId id="636140552" r:id="rId21"/>
    <p:sldId id="636140597" r:id="rId22"/>
    <p:sldId id="636140554" r:id="rId23"/>
    <p:sldId id="636140553" r:id="rId24"/>
    <p:sldId id="636140555" r:id="rId25"/>
    <p:sldId id="636140561" r:id="rId26"/>
    <p:sldId id="636140556" r:id="rId27"/>
    <p:sldId id="636140557" r:id="rId28"/>
    <p:sldId id="636140558" r:id="rId29"/>
    <p:sldId id="636140559" r:id="rId30"/>
    <p:sldId id="636140560" r:id="rId31"/>
    <p:sldId id="636140562" r:id="rId32"/>
    <p:sldId id="636140564" r:id="rId33"/>
    <p:sldId id="636140565" r:id="rId34"/>
    <p:sldId id="636140566" r:id="rId35"/>
    <p:sldId id="636140567" r:id="rId36"/>
    <p:sldId id="636140569" r:id="rId37"/>
    <p:sldId id="636140582" r:id="rId38"/>
    <p:sldId id="636140568" r:id="rId39"/>
    <p:sldId id="636140570" r:id="rId40"/>
    <p:sldId id="636140571" r:id="rId41"/>
    <p:sldId id="636140572" r:id="rId42"/>
    <p:sldId id="636140573" r:id="rId43"/>
    <p:sldId id="636140574" r:id="rId44"/>
    <p:sldId id="636140575" r:id="rId45"/>
    <p:sldId id="636140576" r:id="rId46"/>
    <p:sldId id="636140577" r:id="rId47"/>
    <p:sldId id="636140578" r:id="rId48"/>
    <p:sldId id="636140579" r:id="rId49"/>
    <p:sldId id="636140580" r:id="rId50"/>
    <p:sldId id="636140581" r:id="rId51"/>
    <p:sldId id="636140583" r:id="rId52"/>
    <p:sldId id="636140584" r:id="rId53"/>
    <p:sldId id="636140585" r:id="rId54"/>
    <p:sldId id="636140586" r:id="rId55"/>
    <p:sldId id="636140587" r:id="rId56"/>
    <p:sldId id="636140588" r:id="rId57"/>
    <p:sldId id="636140589" r:id="rId58"/>
    <p:sldId id="636140590" r:id="rId59"/>
    <p:sldId id="636140591" r:id="rId60"/>
    <p:sldId id="636140592" r:id="rId61"/>
    <p:sldId id="636140593" r:id="rId62"/>
    <p:sldId id="636140594" r:id="rId63"/>
    <p:sldId id="636140598" r:id="rId64"/>
    <p:sldId id="418" r:id="rId65"/>
    <p:sldId id="419" r:id="rId66"/>
    <p:sldId id="395" r:id="rId67"/>
    <p:sldId id="397" r:id="rId68"/>
    <p:sldId id="398" r:id="rId69"/>
    <p:sldId id="636140543" r:id="rId70"/>
    <p:sldId id="636140595" r:id="rId71"/>
    <p:sldId id="259" r:id="rId72"/>
  </p:sldIdLst>
  <p:sldSz cx="12192000" cy="6858000"/>
  <p:notesSz cx="6858000" cy="9144000"/>
  <p:embeddedFontLst>
    <p:embeddedFont>
      <p:font typeface="Gilroy" panose="00000500000000000000"/>
      <p:regular r:id="rId74"/>
      <p:bold r:id="rId75"/>
      <p:italic r:id="rId76"/>
      <p:boldItalic r:id="rId77"/>
    </p:embeddedFont>
    <p:embeddedFont>
      <p:font typeface="Gilroy Black"/>
      <p:bold r:id="rId78"/>
    </p:embeddedFont>
    <p:embeddedFont>
      <p:font typeface="Gilroy Bold" panose="00000800000000000000"/>
      <p:bold r:id="rId79"/>
    </p:embeddedFont>
    <p:embeddedFont>
      <p:font typeface="Gilroy Heavy" panose="00000A00000000000000"/>
      <p:bold r:id="rId80"/>
    </p:embeddedFont>
    <p:embeddedFont>
      <p:font typeface="Gilroy Light" panose="00000400000000000000"/>
      <p:regular r:id="rId81"/>
    </p:embeddedFont>
    <p:embeddedFont>
      <p:font typeface="Gilroy LİGHT" panose="00000400000000000000"/>
      <p:regular r:id="rId82"/>
    </p:embeddedFont>
    <p:embeddedFont>
      <p:font typeface="Gilroy Medium" panose="00000600000000000000"/>
      <p:regular r:id="rId83"/>
    </p:embeddedFont>
    <p:embeddedFont>
      <p:font typeface="Helvetica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6B5"/>
    <a:srgbClr val="0036FE"/>
    <a:srgbClr val="F9432A"/>
    <a:srgbClr val="3AD42C"/>
    <a:srgbClr val="001979"/>
    <a:srgbClr val="80CABA"/>
    <a:srgbClr val="F8432B"/>
    <a:srgbClr val="029676"/>
    <a:srgbClr val="0037FF"/>
    <a:srgbClr val="39D4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7D37EC6-E308-4A7D-AD09-5762348ED0D5}" v="75" dt="2020-08-24T13:38:20.3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07" autoAdjust="0"/>
    <p:restoredTop sz="91304" autoAdjust="0"/>
  </p:normalViewPr>
  <p:slideViewPr>
    <p:cSldViewPr snapToGrid="0" snapToObjects="1">
      <p:cViewPr varScale="1">
        <p:scale>
          <a:sx n="76" d="100"/>
          <a:sy n="76" d="100"/>
        </p:scale>
        <p:origin x="109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11.fntdata"/><Relationship Id="rId89" Type="http://schemas.openxmlformats.org/officeDocument/2006/relationships/font" Target="fonts/font16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font" Target="fonts/font1.fntdata"/><Relationship Id="rId79" Type="http://schemas.openxmlformats.org/officeDocument/2006/relationships/font" Target="fonts/font6.fntdata"/><Relationship Id="rId5" Type="http://schemas.openxmlformats.org/officeDocument/2006/relationships/slide" Target="slides/slide1.xml"/><Relationship Id="rId90" Type="http://schemas.openxmlformats.org/officeDocument/2006/relationships/font" Target="fonts/font17.fntdata"/><Relationship Id="rId95" Type="http://schemas.openxmlformats.org/officeDocument/2006/relationships/tableStyles" Target="tableStyle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font" Target="fonts/font7.fntdata"/><Relationship Id="rId85" Type="http://schemas.openxmlformats.org/officeDocument/2006/relationships/font" Target="fonts/font12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font" Target="fonts/font2.fntdata"/><Relationship Id="rId83" Type="http://schemas.openxmlformats.org/officeDocument/2006/relationships/font" Target="fonts/font10.fntdata"/><Relationship Id="rId88" Type="http://schemas.openxmlformats.org/officeDocument/2006/relationships/font" Target="fonts/font15.fntdata"/><Relationship Id="rId91" Type="http://schemas.openxmlformats.org/officeDocument/2006/relationships/font" Target="fonts/font18.fntdata"/><Relationship Id="rId9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notesMaster" Target="notesMasters/notesMaster1.xml"/><Relationship Id="rId78" Type="http://schemas.openxmlformats.org/officeDocument/2006/relationships/font" Target="fonts/font5.fntdata"/><Relationship Id="rId81" Type="http://schemas.openxmlformats.org/officeDocument/2006/relationships/font" Target="fonts/font8.fntdata"/><Relationship Id="rId86" Type="http://schemas.openxmlformats.org/officeDocument/2006/relationships/font" Target="fonts/font13.fntdata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font" Target="fonts/font3.fntdata"/><Relationship Id="rId97" Type="http://schemas.microsoft.com/office/2015/10/relationships/revisionInfo" Target="revisionInfo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4.fntdata"/><Relationship Id="rId61" Type="http://schemas.openxmlformats.org/officeDocument/2006/relationships/slide" Target="slides/slide57.xml"/><Relationship Id="rId82" Type="http://schemas.openxmlformats.org/officeDocument/2006/relationships/font" Target="fonts/font9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font" Target="fonts/font4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rkan Susantez" userId="9d7d81f3-9146-4745-8c3c-a24ffadc3610" providerId="ADAL" clId="{D7D37EC6-E308-4A7D-AD09-5762348ED0D5}"/>
    <pc:docChg chg="undo custSel addSld delSld modSld">
      <pc:chgData name="Serkan Susantez" userId="9d7d81f3-9146-4745-8c3c-a24ffadc3610" providerId="ADAL" clId="{D7D37EC6-E308-4A7D-AD09-5762348ED0D5}" dt="2020-08-26T06:49:18.212" v="1229" actId="20577"/>
      <pc:docMkLst>
        <pc:docMk/>
      </pc:docMkLst>
      <pc:sldChg chg="addSp delSp modSp mod">
        <pc:chgData name="Serkan Susantez" userId="9d7d81f3-9146-4745-8c3c-a24ffadc3610" providerId="ADAL" clId="{D7D37EC6-E308-4A7D-AD09-5762348ED0D5}" dt="2020-08-24T13:52:09.285" v="558" actId="1076"/>
        <pc:sldMkLst>
          <pc:docMk/>
          <pc:sldMk cId="1912548280" sldId="257"/>
        </pc:sldMkLst>
        <pc:spChg chg="add mod">
          <ac:chgData name="Serkan Susantez" userId="9d7d81f3-9146-4745-8c3c-a24ffadc3610" providerId="ADAL" clId="{D7D37EC6-E308-4A7D-AD09-5762348ED0D5}" dt="2020-08-24T13:51:46.671" v="552" actId="403"/>
          <ac:spMkLst>
            <pc:docMk/>
            <pc:sldMk cId="1912548280" sldId="257"/>
            <ac:spMk id="2" creationId="{41DCE188-53D3-4B66-8EE3-016ED92CE95C}"/>
          </ac:spMkLst>
        </pc:spChg>
        <pc:spChg chg="add mod">
          <ac:chgData name="Serkan Susantez" userId="9d7d81f3-9146-4745-8c3c-a24ffadc3610" providerId="ADAL" clId="{D7D37EC6-E308-4A7D-AD09-5762348ED0D5}" dt="2020-08-24T13:52:09.285" v="558" actId="1076"/>
          <ac:spMkLst>
            <pc:docMk/>
            <pc:sldMk cId="1912548280" sldId="257"/>
            <ac:spMk id="3" creationId="{B697433F-BA58-4D75-B264-2602452AEE3E}"/>
          </ac:spMkLst>
        </pc:spChg>
        <pc:spChg chg="mod">
          <ac:chgData name="Serkan Susantez" userId="9d7d81f3-9146-4745-8c3c-a24ffadc3610" providerId="ADAL" clId="{D7D37EC6-E308-4A7D-AD09-5762348ED0D5}" dt="2020-08-24T13:37:29.861" v="441" actId="20577"/>
          <ac:spMkLst>
            <pc:docMk/>
            <pc:sldMk cId="1912548280" sldId="257"/>
            <ac:spMk id="8" creationId="{00000000-0000-0000-0000-000000000000}"/>
          </ac:spMkLst>
        </pc:spChg>
        <pc:spChg chg="mod">
          <ac:chgData name="Serkan Susantez" userId="9d7d81f3-9146-4745-8c3c-a24ffadc3610" providerId="ADAL" clId="{D7D37EC6-E308-4A7D-AD09-5762348ED0D5}" dt="2020-08-24T13:37:17.538" v="426" actId="20577"/>
          <ac:spMkLst>
            <pc:docMk/>
            <pc:sldMk cId="1912548280" sldId="257"/>
            <ac:spMk id="11" creationId="{8E5F7782-0522-FC45-A339-5BBF2480EDFA}"/>
          </ac:spMkLst>
        </pc:spChg>
        <pc:spChg chg="del">
          <ac:chgData name="Serkan Susantez" userId="9d7d81f3-9146-4745-8c3c-a24ffadc3610" providerId="ADAL" clId="{D7D37EC6-E308-4A7D-AD09-5762348ED0D5}" dt="2020-08-24T13:38:35.726" v="446" actId="478"/>
          <ac:spMkLst>
            <pc:docMk/>
            <pc:sldMk cId="1912548280" sldId="257"/>
            <ac:spMk id="13" creationId="{8E5F7782-0522-FC45-A339-5BBF2480EDFA}"/>
          </ac:spMkLst>
        </pc:spChg>
        <pc:spChg chg="del mod">
          <ac:chgData name="Serkan Susantez" userId="9d7d81f3-9146-4745-8c3c-a24ffadc3610" providerId="ADAL" clId="{D7D37EC6-E308-4A7D-AD09-5762348ED0D5}" dt="2020-08-24T13:39:12.521" v="451" actId="478"/>
          <ac:spMkLst>
            <pc:docMk/>
            <pc:sldMk cId="1912548280" sldId="257"/>
            <ac:spMk id="18" creationId="{324AD9B8-3B54-4F2C-99F3-6CAA6169EB26}"/>
          </ac:spMkLst>
        </pc:spChg>
        <pc:spChg chg="del">
          <ac:chgData name="Serkan Susantez" userId="9d7d81f3-9146-4745-8c3c-a24ffadc3610" providerId="ADAL" clId="{D7D37EC6-E308-4A7D-AD09-5762348ED0D5}" dt="2020-08-24T13:38:27.176" v="444" actId="478"/>
          <ac:spMkLst>
            <pc:docMk/>
            <pc:sldMk cId="1912548280" sldId="257"/>
            <ac:spMk id="20" creationId="{8441ACE4-5F9D-D243-AD0B-8242FE32D797}"/>
          </ac:spMkLst>
        </pc:spChg>
        <pc:cxnChg chg="add mod">
          <ac:chgData name="Serkan Susantez" userId="9d7d81f3-9146-4745-8c3c-a24ffadc3610" providerId="ADAL" clId="{D7D37EC6-E308-4A7D-AD09-5762348ED0D5}" dt="2020-08-24T13:38:33.569" v="445" actId="1076"/>
          <ac:cxnSpMkLst>
            <pc:docMk/>
            <pc:sldMk cId="1912548280" sldId="257"/>
            <ac:cxnSpMk id="9" creationId="{2F393F44-1C5A-4EE9-8E64-75F748119AE8}"/>
          </ac:cxnSpMkLst>
        </pc:cxnChg>
      </pc:sldChg>
      <pc:sldChg chg="modSp mod">
        <pc:chgData name="Serkan Susantez" userId="9d7d81f3-9146-4745-8c3c-a24ffadc3610" providerId="ADAL" clId="{D7D37EC6-E308-4A7D-AD09-5762348ED0D5}" dt="2020-08-24T15:11:43.589" v="1208" actId="6549"/>
        <pc:sldMkLst>
          <pc:docMk/>
          <pc:sldMk cId="286870120" sldId="258"/>
        </pc:sldMkLst>
        <pc:spChg chg="mod">
          <ac:chgData name="Serkan Susantez" userId="9d7d81f3-9146-4745-8c3c-a24ffadc3610" providerId="ADAL" clId="{D7D37EC6-E308-4A7D-AD09-5762348ED0D5}" dt="2020-08-24T12:42:28.817" v="25" actId="20577"/>
          <ac:spMkLst>
            <pc:docMk/>
            <pc:sldMk cId="286870120" sldId="258"/>
            <ac:spMk id="6" creationId="{3C318C2A-92F3-4340-A118-F4B233D28FF8}"/>
          </ac:spMkLst>
        </pc:spChg>
        <pc:spChg chg="mod">
          <ac:chgData name="Serkan Susantez" userId="9d7d81f3-9146-4745-8c3c-a24ffadc3610" providerId="ADAL" clId="{D7D37EC6-E308-4A7D-AD09-5762348ED0D5}" dt="2020-08-24T13:29:43.234" v="403" actId="2711"/>
          <ac:spMkLst>
            <pc:docMk/>
            <pc:sldMk cId="286870120" sldId="258"/>
            <ac:spMk id="609" creationId="{00000000-0000-0000-0000-000000000000}"/>
          </ac:spMkLst>
        </pc:spChg>
        <pc:spChg chg="mod">
          <ac:chgData name="Serkan Susantez" userId="9d7d81f3-9146-4745-8c3c-a24ffadc3610" providerId="ADAL" clId="{D7D37EC6-E308-4A7D-AD09-5762348ED0D5}" dt="2020-08-24T15:11:43.589" v="1208" actId="6549"/>
          <ac:spMkLst>
            <pc:docMk/>
            <pc:sldMk cId="286870120" sldId="258"/>
            <ac:spMk id="611" creationId="{00000000-0000-0000-0000-000000000000}"/>
          </ac:spMkLst>
        </pc:spChg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31488339" sldId="260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621317411" sldId="262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61729894" sldId="263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259726957" sldId="264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544195595" sldId="265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57381924" sldId="266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97839165" sldId="267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778160599" sldId="268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369777163" sldId="269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27104123" sldId="270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835328875" sldId="271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271801686" sldId="272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266198011" sldId="273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574512754" sldId="274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542358144" sldId="275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688693290" sldId="276"/>
        </pc:sldMkLst>
      </pc:sldChg>
      <pc:sldChg chg="modSp del mod">
        <pc:chgData name="Serkan Susantez" userId="9d7d81f3-9146-4745-8c3c-a24ffadc3610" providerId="ADAL" clId="{D7D37EC6-E308-4A7D-AD09-5762348ED0D5}" dt="2020-08-24T14:07:15.859" v="789" actId="47"/>
        <pc:sldMkLst>
          <pc:docMk/>
          <pc:sldMk cId="724246278" sldId="277"/>
        </pc:sldMkLst>
        <pc:picChg chg="mod">
          <ac:chgData name="Serkan Susantez" userId="9d7d81f3-9146-4745-8c3c-a24ffadc3610" providerId="ADAL" clId="{D7D37EC6-E308-4A7D-AD09-5762348ED0D5}" dt="2020-08-24T12:52:02.578" v="150" actId="208"/>
          <ac:picMkLst>
            <pc:docMk/>
            <pc:sldMk cId="724246278" sldId="277"/>
            <ac:picMk id="60" creationId="{00000000-0000-0000-0000-000000000000}"/>
          </ac:picMkLst>
        </pc:picChg>
      </pc:sldChg>
      <pc:sldChg chg="modSp del mod">
        <pc:chgData name="Serkan Susantez" userId="9d7d81f3-9146-4745-8c3c-a24ffadc3610" providerId="ADAL" clId="{D7D37EC6-E308-4A7D-AD09-5762348ED0D5}" dt="2020-08-24T14:07:15.859" v="789" actId="47"/>
        <pc:sldMkLst>
          <pc:docMk/>
          <pc:sldMk cId="469883150" sldId="278"/>
        </pc:sldMkLst>
        <pc:picChg chg="mod">
          <ac:chgData name="Serkan Susantez" userId="9d7d81f3-9146-4745-8c3c-a24ffadc3610" providerId="ADAL" clId="{D7D37EC6-E308-4A7D-AD09-5762348ED0D5}" dt="2020-08-24T12:52:18.883" v="151" actId="208"/>
          <ac:picMkLst>
            <pc:docMk/>
            <pc:sldMk cId="469883150" sldId="278"/>
            <ac:picMk id="7" creationId="{00000000-0000-0000-0000-000000000000}"/>
          </ac:picMkLst>
        </pc:picChg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356108993" sldId="280"/>
        </pc:sldMkLst>
      </pc:sldChg>
      <pc:sldChg chg="modSp del">
        <pc:chgData name="Serkan Susantez" userId="9d7d81f3-9146-4745-8c3c-a24ffadc3610" providerId="ADAL" clId="{D7D37EC6-E308-4A7D-AD09-5762348ED0D5}" dt="2020-08-24T14:07:15.859" v="789" actId="47"/>
        <pc:sldMkLst>
          <pc:docMk/>
          <pc:sldMk cId="1163991898" sldId="281"/>
        </pc:sldMkLst>
        <pc:spChg chg="mod">
          <ac:chgData name="Serkan Susantez" userId="9d7d81f3-9146-4745-8c3c-a24ffadc3610" providerId="ADAL" clId="{D7D37EC6-E308-4A7D-AD09-5762348ED0D5}" dt="2020-08-24T12:49:36.333" v="126" actId="207"/>
          <ac:spMkLst>
            <pc:docMk/>
            <pc:sldMk cId="1163991898" sldId="281"/>
            <ac:spMk id="23" creationId="{00000000-0000-0000-0000-000000000000}"/>
          </ac:spMkLst>
        </pc:spChg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863172831" sldId="282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259776221" sldId="283"/>
        </pc:sldMkLst>
      </pc:sldChg>
      <pc:sldChg chg="del">
        <pc:chgData name="Serkan Susantez" userId="9d7d81f3-9146-4745-8c3c-a24ffadc3610" providerId="ADAL" clId="{D7D37EC6-E308-4A7D-AD09-5762348ED0D5}" dt="2020-08-24T14:07:15.859" v="789" actId="47"/>
        <pc:sldMkLst>
          <pc:docMk/>
          <pc:sldMk cId="150074377" sldId="284"/>
        </pc:sldMkLst>
      </pc:sldChg>
      <pc:sldChg chg="addSp delSp modSp add mod">
        <pc:chgData name="Serkan Susantez" userId="9d7d81f3-9146-4745-8c3c-a24ffadc3610" providerId="ADAL" clId="{D7D37EC6-E308-4A7D-AD09-5762348ED0D5}" dt="2020-08-24T15:11:23.736" v="1207" actId="207"/>
        <pc:sldMkLst>
          <pc:docMk/>
          <pc:sldMk cId="4271187785" sldId="285"/>
        </pc:sldMkLst>
        <pc:spChg chg="add">
          <ac:chgData name="Serkan Susantez" userId="9d7d81f3-9146-4745-8c3c-a24ffadc3610" providerId="ADAL" clId="{D7D37EC6-E308-4A7D-AD09-5762348ED0D5}" dt="2020-08-24T12:48:52.067" v="125" actId="22"/>
          <ac:spMkLst>
            <pc:docMk/>
            <pc:sldMk cId="4271187785" sldId="285"/>
            <ac:spMk id="7" creationId="{A1323D4C-6D90-4D3E-A188-D99F07178B88}"/>
          </ac:spMkLst>
        </pc:spChg>
        <pc:spChg chg="del mod">
          <ac:chgData name="Serkan Susantez" userId="9d7d81f3-9146-4745-8c3c-a24ffadc3610" providerId="ADAL" clId="{D7D37EC6-E308-4A7D-AD09-5762348ED0D5}" dt="2020-08-24T12:44:57.042" v="51"/>
          <ac:spMkLst>
            <pc:docMk/>
            <pc:sldMk cId="4271187785" sldId="285"/>
            <ac:spMk id="18" creationId="{8E5F7782-0522-FC45-A339-5BBF2480EDFA}"/>
          </ac:spMkLst>
        </pc:spChg>
        <pc:spChg chg="del">
          <ac:chgData name="Serkan Susantez" userId="9d7d81f3-9146-4745-8c3c-a24ffadc3610" providerId="ADAL" clId="{D7D37EC6-E308-4A7D-AD09-5762348ED0D5}" dt="2020-08-24T12:50:19.686" v="129" actId="478"/>
          <ac:spMkLst>
            <pc:docMk/>
            <pc:sldMk cId="4271187785" sldId="285"/>
            <ac:spMk id="20" creationId="{8E5F7782-0522-FC45-A339-5BBF2480EDFA}"/>
          </ac:spMkLst>
        </pc:spChg>
        <pc:spChg chg="mod topLvl">
          <ac:chgData name="Serkan Susantez" userId="9d7d81f3-9146-4745-8c3c-a24ffadc3610" providerId="ADAL" clId="{D7D37EC6-E308-4A7D-AD09-5762348ED0D5}" dt="2020-08-24T12:47:34.904" v="107" actId="164"/>
          <ac:spMkLst>
            <pc:docMk/>
            <pc:sldMk cId="4271187785" sldId="285"/>
            <ac:spMk id="32" creationId="{00000000-0000-0000-0000-000000000000}"/>
          </ac:spMkLst>
        </pc:spChg>
        <pc:spChg chg="del">
          <ac:chgData name="Serkan Susantez" userId="9d7d81f3-9146-4745-8c3c-a24ffadc3610" providerId="ADAL" clId="{D7D37EC6-E308-4A7D-AD09-5762348ED0D5}" dt="2020-08-24T12:45:21.366" v="53" actId="478"/>
          <ac:spMkLst>
            <pc:docMk/>
            <pc:sldMk cId="4271187785" sldId="285"/>
            <ac:spMk id="33" creationId="{00000000-0000-0000-0000-000000000000}"/>
          </ac:spMkLst>
        </pc:spChg>
        <pc:spChg chg="mod topLvl">
          <ac:chgData name="Serkan Susantez" userId="9d7d81f3-9146-4745-8c3c-a24ffadc3610" providerId="ADAL" clId="{D7D37EC6-E308-4A7D-AD09-5762348ED0D5}" dt="2020-08-24T12:47:34.904" v="107" actId="164"/>
          <ac:spMkLst>
            <pc:docMk/>
            <pc:sldMk cId="4271187785" sldId="285"/>
            <ac:spMk id="34" creationId="{00000000-0000-0000-0000-000000000000}"/>
          </ac:spMkLst>
        </pc:spChg>
        <pc:spChg chg="mod">
          <ac:chgData name="Serkan Susantez" userId="9d7d81f3-9146-4745-8c3c-a24ffadc3610" providerId="ADAL" clId="{D7D37EC6-E308-4A7D-AD09-5762348ED0D5}" dt="2020-08-24T15:11:23.736" v="1207" actId="207"/>
          <ac:spMkLst>
            <pc:docMk/>
            <pc:sldMk cId="4271187785" sldId="285"/>
            <ac:spMk id="35" creationId="{00000000-0000-0000-0000-000000000000}"/>
          </ac:spMkLst>
        </pc:spChg>
        <pc:spChg chg="mod topLvl">
          <ac:chgData name="Serkan Susantez" userId="9d7d81f3-9146-4745-8c3c-a24ffadc3610" providerId="ADAL" clId="{D7D37EC6-E308-4A7D-AD09-5762348ED0D5}" dt="2020-08-24T12:47:34.904" v="107" actId="164"/>
          <ac:spMkLst>
            <pc:docMk/>
            <pc:sldMk cId="4271187785" sldId="285"/>
            <ac:spMk id="53" creationId="{00000000-0000-0000-0000-000000000000}"/>
          </ac:spMkLst>
        </pc:spChg>
        <pc:grpChg chg="add del mod">
          <ac:chgData name="Serkan Susantez" userId="9d7d81f3-9146-4745-8c3c-a24ffadc3610" providerId="ADAL" clId="{D7D37EC6-E308-4A7D-AD09-5762348ED0D5}" dt="2020-08-24T12:46:31.465" v="67" actId="165"/>
          <ac:grpSpMkLst>
            <pc:docMk/>
            <pc:sldMk cId="4271187785" sldId="285"/>
            <ac:grpSpMk id="2" creationId="{065F9A22-D13B-4F8D-A14E-7265EB6D3069}"/>
          </ac:grpSpMkLst>
        </pc:grpChg>
        <pc:grpChg chg="add del mod">
          <ac:chgData name="Serkan Susantez" userId="9d7d81f3-9146-4745-8c3c-a24ffadc3610" providerId="ADAL" clId="{D7D37EC6-E308-4A7D-AD09-5762348ED0D5}" dt="2020-08-24T12:46:31.465" v="67" actId="165"/>
          <ac:grpSpMkLst>
            <pc:docMk/>
            <pc:sldMk cId="4271187785" sldId="285"/>
            <ac:grpSpMk id="3" creationId="{9914770C-477B-42C0-90DB-7737242FED81}"/>
          </ac:grpSpMkLst>
        </pc:grpChg>
        <pc:grpChg chg="add del mod">
          <ac:chgData name="Serkan Susantez" userId="9d7d81f3-9146-4745-8c3c-a24ffadc3610" providerId="ADAL" clId="{D7D37EC6-E308-4A7D-AD09-5762348ED0D5}" dt="2020-08-24T12:46:31.465" v="67" actId="165"/>
          <ac:grpSpMkLst>
            <pc:docMk/>
            <pc:sldMk cId="4271187785" sldId="285"/>
            <ac:grpSpMk id="4" creationId="{E0B8B8F5-C198-48BD-91F3-2DAB51344B10}"/>
          </ac:grpSpMkLst>
        </pc:grpChg>
        <pc:grpChg chg="add mod">
          <ac:chgData name="Serkan Susantez" userId="9d7d81f3-9146-4745-8c3c-a24ffadc3610" providerId="ADAL" clId="{D7D37EC6-E308-4A7D-AD09-5762348ED0D5}" dt="2020-08-24T12:47:42.148" v="109" actId="1076"/>
          <ac:grpSpMkLst>
            <pc:docMk/>
            <pc:sldMk cId="4271187785" sldId="285"/>
            <ac:grpSpMk id="6" creationId="{9B6626A4-A47D-428C-B184-4138474180E6}"/>
          </ac:grpSpMkLst>
        </pc:grpChg>
        <pc:picChg chg="mod topLvl">
          <ac:chgData name="Serkan Susantez" userId="9d7d81f3-9146-4745-8c3c-a24ffadc3610" providerId="ADAL" clId="{D7D37EC6-E308-4A7D-AD09-5762348ED0D5}" dt="2020-08-24T12:47:34.904" v="107" actId="164"/>
          <ac:picMkLst>
            <pc:docMk/>
            <pc:sldMk cId="4271187785" sldId="285"/>
            <ac:picMk id="5" creationId="{00000000-0000-0000-0000-000000000000}"/>
          </ac:picMkLst>
        </pc:picChg>
        <pc:picChg chg="mod">
          <ac:chgData name="Serkan Susantez" userId="9d7d81f3-9146-4745-8c3c-a24ffadc3610" providerId="ADAL" clId="{D7D37EC6-E308-4A7D-AD09-5762348ED0D5}" dt="2020-08-24T12:46:40.555" v="70" actId="1076"/>
          <ac:picMkLst>
            <pc:docMk/>
            <pc:sldMk cId="4271187785" sldId="285"/>
            <ac:picMk id="17" creationId="{00000000-0000-0000-0000-000000000000}"/>
          </ac:picMkLst>
        </pc:picChg>
        <pc:picChg chg="del">
          <ac:chgData name="Serkan Susantez" userId="9d7d81f3-9146-4745-8c3c-a24ffadc3610" providerId="ADAL" clId="{D7D37EC6-E308-4A7D-AD09-5762348ED0D5}" dt="2020-08-24T12:44:34.006" v="47" actId="478"/>
          <ac:picMkLst>
            <pc:docMk/>
            <pc:sldMk cId="4271187785" sldId="285"/>
            <ac:picMk id="21" creationId="{00000000-0000-0000-0000-000000000000}"/>
          </ac:picMkLst>
        </pc:picChg>
        <pc:picChg chg="del">
          <ac:chgData name="Serkan Susantez" userId="9d7d81f3-9146-4745-8c3c-a24ffadc3610" providerId="ADAL" clId="{D7D37EC6-E308-4A7D-AD09-5762348ED0D5}" dt="2020-08-24T12:45:19.463" v="52" actId="478"/>
          <ac:picMkLst>
            <pc:docMk/>
            <pc:sldMk cId="4271187785" sldId="285"/>
            <ac:picMk id="70" creationId="{00000000-0000-0000-0000-000000000000}"/>
          </ac:picMkLst>
        </pc:picChg>
        <pc:picChg chg="mod topLvl">
          <ac:chgData name="Serkan Susantez" userId="9d7d81f3-9146-4745-8c3c-a24ffadc3610" providerId="ADAL" clId="{D7D37EC6-E308-4A7D-AD09-5762348ED0D5}" dt="2020-08-24T12:47:34.904" v="107" actId="164"/>
          <ac:picMkLst>
            <pc:docMk/>
            <pc:sldMk cId="4271187785" sldId="285"/>
            <ac:picMk id="71" creationId="{00000000-0000-0000-0000-000000000000}"/>
          </ac:picMkLst>
        </pc:picChg>
        <pc:picChg chg="mod topLvl">
          <ac:chgData name="Serkan Susantez" userId="9d7d81f3-9146-4745-8c3c-a24ffadc3610" providerId="ADAL" clId="{D7D37EC6-E308-4A7D-AD09-5762348ED0D5}" dt="2020-08-24T12:47:34.904" v="107" actId="164"/>
          <ac:picMkLst>
            <pc:docMk/>
            <pc:sldMk cId="4271187785" sldId="285"/>
            <ac:picMk id="72" creationId="{00000000-0000-0000-0000-000000000000}"/>
          </ac:picMkLst>
        </pc:picChg>
        <pc:cxnChg chg="del">
          <ac:chgData name="Serkan Susantez" userId="9d7d81f3-9146-4745-8c3c-a24ffadc3610" providerId="ADAL" clId="{D7D37EC6-E308-4A7D-AD09-5762348ED0D5}" dt="2020-08-24T12:45:28.235" v="55" actId="478"/>
          <ac:cxnSpMkLst>
            <pc:docMk/>
            <pc:sldMk cId="4271187785" sldId="285"/>
            <ac:cxnSpMk id="61" creationId="{00000000-0000-0000-0000-000000000000}"/>
          </ac:cxnSpMkLst>
        </pc:cxnChg>
        <pc:cxnChg chg="mod">
          <ac:chgData name="Serkan Susantez" userId="9d7d81f3-9146-4745-8c3c-a24ffadc3610" providerId="ADAL" clId="{D7D37EC6-E308-4A7D-AD09-5762348ED0D5}" dt="2020-08-24T12:47:34.904" v="107" actId="164"/>
          <ac:cxnSpMkLst>
            <pc:docMk/>
            <pc:sldMk cId="4271187785" sldId="285"/>
            <ac:cxnSpMk id="64" creationId="{00000000-0000-0000-0000-000000000000}"/>
          </ac:cxnSpMkLst>
        </pc:cxnChg>
        <pc:cxnChg chg="mod">
          <ac:chgData name="Serkan Susantez" userId="9d7d81f3-9146-4745-8c3c-a24ffadc3610" providerId="ADAL" clId="{D7D37EC6-E308-4A7D-AD09-5762348ED0D5}" dt="2020-08-24T12:47:34.904" v="107" actId="164"/>
          <ac:cxnSpMkLst>
            <pc:docMk/>
            <pc:sldMk cId="4271187785" sldId="285"/>
            <ac:cxnSpMk id="65" creationId="{00000000-0000-0000-0000-000000000000}"/>
          </ac:cxnSpMkLst>
        </pc:cxnChg>
      </pc:sldChg>
      <pc:sldChg chg="add del">
        <pc:chgData name="Serkan Susantez" userId="9d7d81f3-9146-4745-8c3c-a24ffadc3610" providerId="ADAL" clId="{D7D37EC6-E308-4A7D-AD09-5762348ED0D5}" dt="2020-08-24T12:43:33.495" v="29" actId="47"/>
        <pc:sldMkLst>
          <pc:docMk/>
          <pc:sldMk cId="625473308" sldId="286"/>
        </pc:sldMkLst>
      </pc:sldChg>
      <pc:sldChg chg="addSp delSp modSp add mod">
        <pc:chgData name="Serkan Susantez" userId="9d7d81f3-9146-4745-8c3c-a24ffadc3610" providerId="ADAL" clId="{D7D37EC6-E308-4A7D-AD09-5762348ED0D5}" dt="2020-08-24T15:10:33.475" v="1201" actId="113"/>
        <pc:sldMkLst>
          <pc:docMk/>
          <pc:sldMk cId="4051133415" sldId="287"/>
        </pc:sldMkLst>
        <pc:spChg chg="add mod">
          <ac:chgData name="Serkan Susantez" userId="9d7d81f3-9146-4745-8c3c-a24ffadc3610" providerId="ADAL" clId="{D7D37EC6-E308-4A7D-AD09-5762348ED0D5}" dt="2020-08-24T12:48:45.209" v="124" actId="20577"/>
          <ac:spMkLst>
            <pc:docMk/>
            <pc:sldMk cId="4051133415" sldId="287"/>
            <ac:spMk id="2" creationId="{E5746F8F-C49B-425B-B2E9-E98D96F89112}"/>
          </ac:spMkLst>
        </pc:spChg>
        <pc:spChg chg="del mod">
          <ac:chgData name="Serkan Susantez" userId="9d7d81f3-9146-4745-8c3c-a24ffadc3610" providerId="ADAL" clId="{D7D37EC6-E308-4A7D-AD09-5762348ED0D5}" dt="2020-08-24T12:44:24.360" v="45"/>
          <ac:spMkLst>
            <pc:docMk/>
            <pc:sldMk cId="4051133415" sldId="287"/>
            <ac:spMk id="11" creationId="{8E5F7782-0522-FC45-A339-5BBF2480EDFA}"/>
          </ac:spMkLst>
        </pc:spChg>
        <pc:spChg chg="del">
          <ac:chgData name="Serkan Susantez" userId="9d7d81f3-9146-4745-8c3c-a24ffadc3610" providerId="ADAL" clId="{D7D37EC6-E308-4A7D-AD09-5762348ED0D5}" dt="2020-08-24T12:50:16.619" v="128" actId="478"/>
          <ac:spMkLst>
            <pc:docMk/>
            <pc:sldMk cId="4051133415" sldId="287"/>
            <ac:spMk id="13" creationId="{8E5F7782-0522-FC45-A339-5BBF2480EDFA}"/>
          </ac:spMkLst>
        </pc:spChg>
        <pc:spChg chg="mod">
          <ac:chgData name="Serkan Susantez" userId="9d7d81f3-9146-4745-8c3c-a24ffadc3610" providerId="ADAL" clId="{D7D37EC6-E308-4A7D-AD09-5762348ED0D5}" dt="2020-08-24T15:10:33.475" v="1201" actId="113"/>
          <ac:spMkLst>
            <pc:docMk/>
            <pc:sldMk cId="4051133415" sldId="287"/>
            <ac:spMk id="661" creationId="{00000000-0000-0000-0000-000000000000}"/>
          </ac:spMkLst>
        </pc:spChg>
      </pc:sldChg>
      <pc:sldChg chg="add del">
        <pc:chgData name="Serkan Susantez" userId="9d7d81f3-9146-4745-8c3c-a24ffadc3610" providerId="ADAL" clId="{D7D37EC6-E308-4A7D-AD09-5762348ED0D5}" dt="2020-08-24T13:00:24.184" v="346" actId="47"/>
        <pc:sldMkLst>
          <pc:docMk/>
          <pc:sldMk cId="86050469" sldId="348"/>
        </pc:sldMkLst>
      </pc:sldChg>
      <pc:sldChg chg="addSp delSp modSp add mod">
        <pc:chgData name="Serkan Susantez" userId="9d7d81f3-9146-4745-8c3c-a24ffadc3610" providerId="ADAL" clId="{D7D37EC6-E308-4A7D-AD09-5762348ED0D5}" dt="2020-08-24T13:36:56.530" v="413" actId="208"/>
        <pc:sldMkLst>
          <pc:docMk/>
          <pc:sldMk cId="4249271659" sldId="349"/>
        </pc:sldMkLst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2" creationId="{C55B9C48-8EFE-43DD-83B0-828352A05331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3" creationId="{481A4948-B5C7-4695-8A19-CF453A8A7771}"/>
          </ac:spMkLst>
        </pc:spChg>
        <pc:spChg chg="add mod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4" creationId="{A9A0D999-1A2D-44CB-92BA-537CE32756C6}"/>
          </ac:spMkLst>
        </pc:spChg>
        <pc:spChg chg="add mod topLvl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5" creationId="{63F7C05E-B76B-4ECC-A270-3A19C95887D9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6" creationId="{D9B3DE51-D102-4492-AEC4-3DDD4A06314B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7" creationId="{B722798F-8546-4464-A30E-A3F30825DBB5}"/>
          </ac:spMkLst>
        </pc:spChg>
        <pc:spChg chg="mod">
          <ac:chgData name="Serkan Susantez" userId="9d7d81f3-9146-4745-8c3c-a24ffadc3610" providerId="ADAL" clId="{D7D37EC6-E308-4A7D-AD09-5762348ED0D5}" dt="2020-08-24T12:51:28.580" v="145"/>
          <ac:spMkLst>
            <pc:docMk/>
            <pc:sldMk cId="4249271659" sldId="349"/>
            <ac:spMk id="8" creationId="{00000000-0000-0000-0000-000000000000}"/>
          </ac:spMkLst>
        </pc:spChg>
        <pc:spChg chg="mod">
          <ac:chgData name="Serkan Susantez" userId="9d7d81f3-9146-4745-8c3c-a24ffadc3610" providerId="ADAL" clId="{D7D37EC6-E308-4A7D-AD09-5762348ED0D5}" dt="2020-08-24T12:51:18.101" v="144" actId="20577"/>
          <ac:spMkLst>
            <pc:docMk/>
            <pc:sldMk cId="4249271659" sldId="349"/>
            <ac:spMk id="11" creationId="{8E5F7782-0522-FC45-A339-5BBF2480EDFA}"/>
          </ac:spMkLst>
        </pc:spChg>
        <pc:spChg chg="add mod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17" creationId="{65EB7EF3-25F4-4E92-8636-A7E2C0AB5F0C}"/>
          </ac:spMkLst>
        </pc:spChg>
        <pc:spChg chg="del">
          <ac:chgData name="Serkan Susantez" userId="9d7d81f3-9146-4745-8c3c-a24ffadc3610" providerId="ADAL" clId="{D7D37EC6-E308-4A7D-AD09-5762348ED0D5}" dt="2020-08-24T12:51:35.785" v="147" actId="478"/>
          <ac:spMkLst>
            <pc:docMk/>
            <pc:sldMk cId="4249271659" sldId="349"/>
            <ac:spMk id="18" creationId="{324AD9B8-3B54-4F2C-99F3-6CAA6169EB26}"/>
          </ac:spMkLst>
        </pc:spChg>
        <pc:spChg chg="del">
          <ac:chgData name="Serkan Susantez" userId="9d7d81f3-9146-4745-8c3c-a24ffadc3610" providerId="ADAL" clId="{D7D37EC6-E308-4A7D-AD09-5762348ED0D5}" dt="2020-08-24T12:51:33.220" v="146" actId="478"/>
          <ac:spMkLst>
            <pc:docMk/>
            <pc:sldMk cId="4249271659" sldId="349"/>
            <ac:spMk id="20" creationId="{8441ACE4-5F9D-D243-AD0B-8242FE32D797}"/>
          </ac:spMkLst>
        </pc:spChg>
        <pc:spChg chg="add mod topLvl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23" creationId="{57B254EB-D0C6-40D9-B2E5-C7B92AC8EEFB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25" creationId="{1021A4F2-AC1E-4016-82D8-D3DA50278429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27" creationId="{2281B3EE-9A04-4123-BBE9-88EC670F097D}"/>
          </ac:spMkLst>
        </pc:spChg>
        <pc:spChg chg="add mod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29" creationId="{7E036E7F-7FB0-4F1C-BF56-B1CB27FFD2E9}"/>
          </ac:spMkLst>
        </pc:spChg>
        <pc:spChg chg="add mod topLvl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31" creationId="{552CDE25-B16C-4259-BB3C-C832567833C3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33" creationId="{DF7FD637-346D-4073-8C36-BC5F8357ED0A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35" creationId="{E4AB2F5E-666A-40A6-B771-10B5F1459D59}"/>
          </ac:spMkLst>
        </pc:spChg>
        <pc:spChg chg="add mod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37" creationId="{C0A310EF-18D8-4D2F-B34A-97FFB9A5018B}"/>
          </ac:spMkLst>
        </pc:spChg>
        <pc:spChg chg="add mod topLvl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39" creationId="{FAA1A7A9-95E9-46CC-B6DB-E81706ACC993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41" creationId="{A90E6419-D7F2-46D9-A73D-F9C70F6CEB8B}"/>
          </ac:spMkLst>
        </pc:spChg>
        <pc:spChg chg="add mod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43" creationId="{0BD003AC-A28B-4C42-B683-0FF25D4C59D1}"/>
          </ac:spMkLst>
        </pc:spChg>
        <pc:spChg chg="add mod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45" creationId="{71B03A5B-BBBE-427A-9428-70AE48771E81}"/>
          </ac:spMkLst>
        </pc:spChg>
        <pc:spChg chg="add mod topLvl">
          <ac:chgData name="Serkan Susantez" userId="9d7d81f3-9146-4745-8c3c-a24ffadc3610" providerId="ADAL" clId="{D7D37EC6-E308-4A7D-AD09-5762348ED0D5}" dt="2020-08-24T13:36:56.530" v="413" actId="208"/>
          <ac:spMkLst>
            <pc:docMk/>
            <pc:sldMk cId="4249271659" sldId="349"/>
            <ac:spMk id="47" creationId="{73CC309E-5606-4C15-92E6-C4C31E0635E8}"/>
          </ac:spMkLst>
        </pc:spChg>
        <pc:spChg chg="add mod topLvl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49" creationId="{6C3576A6-CEB7-42A8-A544-6F2E7A71D975}"/>
          </ac:spMkLst>
        </pc:spChg>
        <pc:spChg chg="add mod topLvl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51" creationId="{DD36CF14-09BA-4590-9440-CDDE0BFC4E33}"/>
          </ac:spMkLst>
        </pc:spChg>
        <pc:spChg chg="add mod topLvl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53" creationId="{903270F0-FAAD-4453-9315-C09513143B0C}"/>
          </ac:spMkLst>
        </pc:spChg>
        <pc:spChg chg="add mod topLvl">
          <ac:chgData name="Serkan Susantez" userId="9d7d81f3-9146-4745-8c3c-a24ffadc3610" providerId="ADAL" clId="{D7D37EC6-E308-4A7D-AD09-5762348ED0D5}" dt="2020-08-24T13:36:43.576" v="412" actId="165"/>
          <ac:spMkLst>
            <pc:docMk/>
            <pc:sldMk cId="4249271659" sldId="349"/>
            <ac:spMk id="55" creationId="{F0DDB97F-934D-472D-9CBA-F643542C4A8E}"/>
          </ac:spMkLst>
        </pc:spChg>
        <pc:grpChg chg="add mod topLvl">
          <ac:chgData name="Serkan Susantez" userId="9d7d81f3-9146-4745-8c3c-a24ffadc3610" providerId="ADAL" clId="{D7D37EC6-E308-4A7D-AD09-5762348ED0D5}" dt="2020-08-24T13:36:43.576" v="412" actId="165"/>
          <ac:grpSpMkLst>
            <pc:docMk/>
            <pc:sldMk cId="4249271659" sldId="349"/>
            <ac:grpSpMk id="56" creationId="{7CCE59CA-70D4-4DAE-A536-01BF42FCD5D8}"/>
          </ac:grpSpMkLst>
        </pc:grpChg>
        <pc:grpChg chg="add mod">
          <ac:chgData name="Serkan Susantez" userId="9d7d81f3-9146-4745-8c3c-a24ffadc3610" providerId="ADAL" clId="{D7D37EC6-E308-4A7D-AD09-5762348ED0D5}" dt="2020-08-24T12:55:54.430" v="210" actId="164"/>
          <ac:grpSpMkLst>
            <pc:docMk/>
            <pc:sldMk cId="4249271659" sldId="349"/>
            <ac:grpSpMk id="57" creationId="{A49E435D-B0B5-48F8-B19D-AF7B5BA44769}"/>
          </ac:grpSpMkLst>
        </pc:grpChg>
        <pc:grpChg chg="add mod">
          <ac:chgData name="Serkan Susantez" userId="9d7d81f3-9146-4745-8c3c-a24ffadc3610" providerId="ADAL" clId="{D7D37EC6-E308-4A7D-AD09-5762348ED0D5}" dt="2020-08-24T12:55:53.973" v="209" actId="164"/>
          <ac:grpSpMkLst>
            <pc:docMk/>
            <pc:sldMk cId="4249271659" sldId="349"/>
            <ac:grpSpMk id="58" creationId="{9C5E2007-5E5A-437B-86D8-5125CE499A41}"/>
          </ac:grpSpMkLst>
        </pc:grpChg>
        <pc:grpChg chg="add mod">
          <ac:chgData name="Serkan Susantez" userId="9d7d81f3-9146-4745-8c3c-a24ffadc3610" providerId="ADAL" clId="{D7D37EC6-E308-4A7D-AD09-5762348ED0D5}" dt="2020-08-24T12:55:53.419" v="208" actId="164"/>
          <ac:grpSpMkLst>
            <pc:docMk/>
            <pc:sldMk cId="4249271659" sldId="349"/>
            <ac:grpSpMk id="59" creationId="{9CC80B80-7BC1-4EB2-9055-1EF0B5C9AC4A}"/>
          </ac:grpSpMkLst>
        </pc:grpChg>
        <pc:grpChg chg="add mod topLvl">
          <ac:chgData name="Serkan Susantez" userId="9d7d81f3-9146-4745-8c3c-a24ffadc3610" providerId="ADAL" clId="{D7D37EC6-E308-4A7D-AD09-5762348ED0D5}" dt="2020-08-24T13:36:43.576" v="412" actId="165"/>
          <ac:grpSpMkLst>
            <pc:docMk/>
            <pc:sldMk cId="4249271659" sldId="349"/>
            <ac:grpSpMk id="60" creationId="{2657EC97-A973-4122-BD1C-6CC25926AFD6}"/>
          </ac:grpSpMkLst>
        </pc:grpChg>
        <pc:grpChg chg="add mod topLvl">
          <ac:chgData name="Serkan Susantez" userId="9d7d81f3-9146-4745-8c3c-a24ffadc3610" providerId="ADAL" clId="{D7D37EC6-E308-4A7D-AD09-5762348ED0D5}" dt="2020-08-24T13:36:43.576" v="412" actId="165"/>
          <ac:grpSpMkLst>
            <pc:docMk/>
            <pc:sldMk cId="4249271659" sldId="349"/>
            <ac:grpSpMk id="61" creationId="{1D997C66-F7D7-4C2B-BFF4-AB206B852D28}"/>
          </ac:grpSpMkLst>
        </pc:grpChg>
        <pc:grpChg chg="add del mod">
          <ac:chgData name="Serkan Susantez" userId="9d7d81f3-9146-4745-8c3c-a24ffadc3610" providerId="ADAL" clId="{D7D37EC6-E308-4A7D-AD09-5762348ED0D5}" dt="2020-08-24T12:58:11.748" v="249" actId="165"/>
          <ac:grpSpMkLst>
            <pc:docMk/>
            <pc:sldMk cId="4249271659" sldId="349"/>
            <ac:grpSpMk id="62" creationId="{C1B5DD99-C4D7-452C-A390-BC42367A8B49}"/>
          </ac:grpSpMkLst>
        </pc:grpChg>
        <pc:grpChg chg="add mod topLvl">
          <ac:chgData name="Serkan Susantez" userId="9d7d81f3-9146-4745-8c3c-a24ffadc3610" providerId="ADAL" clId="{D7D37EC6-E308-4A7D-AD09-5762348ED0D5}" dt="2020-08-24T13:36:43.576" v="412" actId="165"/>
          <ac:grpSpMkLst>
            <pc:docMk/>
            <pc:sldMk cId="4249271659" sldId="349"/>
            <ac:grpSpMk id="63" creationId="{8EC459CF-6051-4692-A3AE-BA962031F7D7}"/>
          </ac:grpSpMkLst>
        </pc:grpChg>
        <pc:grpChg chg="add del mod ord">
          <ac:chgData name="Serkan Susantez" userId="9d7d81f3-9146-4745-8c3c-a24ffadc3610" providerId="ADAL" clId="{D7D37EC6-E308-4A7D-AD09-5762348ED0D5}" dt="2020-08-24T13:36:43.576" v="412" actId="165"/>
          <ac:grpSpMkLst>
            <pc:docMk/>
            <pc:sldMk cId="4249271659" sldId="349"/>
            <ac:grpSpMk id="64" creationId="{778C6DA8-2454-4D91-8801-1C3B3A28A8BF}"/>
          </ac:grpSpMkLst>
        </pc:grpChg>
      </pc:sldChg>
      <pc:sldChg chg="addSp delSp modSp add mod modClrScheme chgLayout">
        <pc:chgData name="Serkan Susantez" userId="9d7d81f3-9146-4745-8c3c-a24ffadc3610" providerId="ADAL" clId="{D7D37EC6-E308-4A7D-AD09-5762348ED0D5}" dt="2020-08-24T13:30:46.338" v="409" actId="113"/>
        <pc:sldMkLst>
          <pc:docMk/>
          <pc:sldMk cId="4144646767" sldId="350"/>
        </pc:sldMkLst>
        <pc:spChg chg="mod">
          <ac:chgData name="Serkan Susantez" userId="9d7d81f3-9146-4745-8c3c-a24ffadc3610" providerId="ADAL" clId="{D7D37EC6-E308-4A7D-AD09-5762348ED0D5}" dt="2020-08-24T13:01:06.128" v="359" actId="20577"/>
          <ac:spMkLst>
            <pc:docMk/>
            <pc:sldMk cId="4144646767" sldId="350"/>
            <ac:spMk id="8" creationId="{00000000-0000-0000-0000-000000000000}"/>
          </ac:spMkLst>
        </pc:spChg>
        <pc:spChg chg="add del mod ord">
          <ac:chgData name="Serkan Susantez" userId="9d7d81f3-9146-4745-8c3c-a24ffadc3610" providerId="ADAL" clId="{D7D37EC6-E308-4A7D-AD09-5762348ED0D5}" dt="2020-08-24T13:04:42.916" v="376" actId="700"/>
          <ac:spMkLst>
            <pc:docMk/>
            <pc:sldMk cId="4144646767" sldId="350"/>
            <ac:spMk id="9" creationId="{D853499A-69C0-46B7-B2DD-21B4EAA63CE1}"/>
          </ac:spMkLst>
        </pc:spChg>
        <pc:spChg chg="del">
          <ac:chgData name="Serkan Susantez" userId="9d7d81f3-9146-4745-8c3c-a24ffadc3610" providerId="ADAL" clId="{D7D37EC6-E308-4A7D-AD09-5762348ED0D5}" dt="2020-08-24T13:02:42.730" v="373" actId="478"/>
          <ac:spMkLst>
            <pc:docMk/>
            <pc:sldMk cId="4144646767" sldId="350"/>
            <ac:spMk id="13" creationId="{8E5F7782-0522-FC45-A339-5BBF2480EDFA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57" creationId="{CE8BE464-02DF-4BD2-AC9F-ED4E20BD6AC1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59" creationId="{E5B99F20-D689-4816-9E87-D1C42B03200B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67" creationId="{950F750B-839C-4712-9999-B1AB8F13C557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69" creationId="{3BD7986C-550A-4496-95EA-D7E8F70C7E6E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0" creationId="{5DA28A69-D47B-4AF2-93F7-EA074E66A466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1" creationId="{68F3926A-40A2-47B2-AA89-31C47D9C702F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2" creationId="{C8A387AD-6658-4102-8664-1D95AFC415AC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3" creationId="{350E3B68-DFEE-460E-A29F-6A5C04CB40FC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4" creationId="{E24522FF-692C-4D8C-BED1-25E4EFCDB11D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5" creationId="{D2118011-3065-4784-96FB-B6DCE7E3207C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6" creationId="{50DFDA67-78BC-43AE-8A79-F7A872AB70F9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8" creationId="{998753F7-F446-4DDC-9C2D-64B6446F134F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79" creationId="{A7650792-F730-4CB1-A411-17B22728ED25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0" creationId="{ECD083DE-03F5-45E8-91E0-5B8D96BE4204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1" creationId="{54B17B5C-9EEC-4890-A981-282A53013FEE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2" creationId="{D6404CDC-C66F-4C55-90A5-E8D5BCBD0D0C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3" creationId="{5CE2D024-0C3B-48E0-9098-511176E83F3A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4" creationId="{18FD5D9E-B7BB-4E14-AD94-F6925E793C9B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5" creationId="{8B19EC16-1D01-4BC7-BD90-16695A97B699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6" creationId="{0D06C73A-4A7F-4E52-A137-DA69CE6157B3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7" creationId="{658B65CD-377B-4A5D-BAAB-ED73A168A5C4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88" creationId="{C5DF1D22-20C5-460C-9DA6-61F68087D760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0" creationId="{75ECE4C4-A27B-4367-8180-D6D98450483C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1" creationId="{BCB10442-03ED-4F48-B2FF-44E4517C608A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2" creationId="{DBD06AD8-0D4E-43DF-8487-31E848D9C854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3" creationId="{78216ECF-FBAC-4935-B053-F71B8DD529B6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4" creationId="{5749BD1A-76F1-4358-8F1F-C3977A689E80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6" creationId="{18B45A01-7AAF-48D5-8F45-F72C8A9803B8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98" creationId="{E8AD84C1-445E-4FA9-9BD9-6DF1EE189C33}"/>
          </ac:spMkLst>
        </pc:spChg>
        <pc:spChg chg="mod">
          <ac:chgData name="Serkan Susantez" userId="9d7d81f3-9146-4745-8c3c-a24ffadc3610" providerId="ADAL" clId="{D7D37EC6-E308-4A7D-AD09-5762348ED0D5}" dt="2020-08-24T13:04:56.733" v="400" actId="1036"/>
          <ac:spMkLst>
            <pc:docMk/>
            <pc:sldMk cId="4144646767" sldId="350"/>
            <ac:spMk id="100" creationId="{BA21157E-E6A7-458E-A340-BBB51FC6B182}"/>
          </ac:spMkLst>
        </pc:spChg>
        <pc:grpChg chg="add mod">
          <ac:chgData name="Serkan Susantez" userId="9d7d81f3-9146-4745-8c3c-a24ffadc3610" providerId="ADAL" clId="{D7D37EC6-E308-4A7D-AD09-5762348ED0D5}" dt="2020-08-24T13:30:46.338" v="409" actId="113"/>
          <ac:grpSpMkLst>
            <pc:docMk/>
            <pc:sldMk cId="4144646767" sldId="350"/>
            <ac:grpSpMk id="36" creationId="{9F447F0E-7199-47AE-824A-28E4FE5CB735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38" creationId="{74309BAE-E2A6-4724-AD13-AC4E3D8EC85B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40" creationId="{F5E5D916-3478-40D1-AFF0-10280C836CA2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42" creationId="{1CC577C2-A3C9-4B65-862E-C298AA97CC2C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44" creationId="{ED205C93-F2AF-4D10-B4BD-9CDDE108B8A9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46" creationId="{8F7F84C7-661D-4B0B-BF6F-798F20447F8E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48" creationId="{C2FCFCF8-EB7D-4EDA-8A44-5D26CC6D2F7A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50" creationId="{B42A01E7-F383-4E70-8959-866AE0FCDEED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52" creationId="{1FC5C408-2188-4C24-8C31-36D3F1694023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54" creationId="{D7ED6616-5DA8-4184-A6EB-2DE3C1F453B4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62" creationId="{C2B94471-384D-4941-B590-C0CC6BA78B82}"/>
          </ac:grpSpMkLst>
        </pc:grpChg>
        <pc:grpChg chg="del">
          <ac:chgData name="Serkan Susantez" userId="9d7d81f3-9146-4745-8c3c-a24ffadc3610" providerId="ADAL" clId="{D7D37EC6-E308-4A7D-AD09-5762348ED0D5}" dt="2020-08-24T13:01:11.373" v="360" actId="478"/>
          <ac:grpSpMkLst>
            <pc:docMk/>
            <pc:sldMk cId="4144646767" sldId="350"/>
            <ac:grpSpMk id="64" creationId="{778C6DA8-2454-4D91-8801-1C3B3A28A8BF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68" creationId="{096956EE-81A5-4E2C-9C3A-B5705B3761A9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77" creationId="{30FCDBD0-A82D-4717-89B2-5BCB65615461}"/>
          </ac:grpSpMkLst>
        </pc:grpChg>
        <pc:grpChg chg="mod">
          <ac:chgData name="Serkan Susantez" userId="9d7d81f3-9146-4745-8c3c-a24ffadc3610" providerId="ADAL" clId="{D7D37EC6-E308-4A7D-AD09-5762348ED0D5}" dt="2020-08-24T13:04:56.733" v="400" actId="1036"/>
          <ac:grpSpMkLst>
            <pc:docMk/>
            <pc:sldMk cId="4144646767" sldId="350"/>
            <ac:grpSpMk id="89" creationId="{206E48A6-EBB6-4EA9-B536-D79197AA9E44}"/>
          </ac:grpSpMkLst>
        </pc:grp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58" creationId="{F7AB8723-F0C4-417E-82EF-5C45D0276541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65" creationId="{F2184B32-A173-4783-953B-9BB62DF406CD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66" creationId="{B26F3751-1611-4B32-B25B-A43C2D3B068F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95" creationId="{4716D1B7-374D-4D20-BCCE-A6D349D54FC2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97" creationId="{6D070C84-7DCC-49A4-B396-4D9661AC7440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99" creationId="{5D581B6F-C879-4655-9ED1-DCA65B32FD69}"/>
          </ac:picMkLst>
        </pc:picChg>
        <pc:picChg chg="mod">
          <ac:chgData name="Serkan Susantez" userId="9d7d81f3-9146-4745-8c3c-a24ffadc3610" providerId="ADAL" clId="{D7D37EC6-E308-4A7D-AD09-5762348ED0D5}" dt="2020-08-24T13:04:56.733" v="400" actId="1036"/>
          <ac:picMkLst>
            <pc:docMk/>
            <pc:sldMk cId="4144646767" sldId="350"/>
            <ac:picMk id="101" creationId="{C2FF8AF5-4C09-44D4-8A92-C75AECF2DCEC}"/>
          </ac:picMkLst>
        </pc:picChg>
      </pc:sldChg>
      <pc:sldChg chg="addSp modSp add mod">
        <pc:chgData name="Serkan Susantez" userId="9d7d81f3-9146-4745-8c3c-a24ffadc3610" providerId="ADAL" clId="{D7D37EC6-E308-4A7D-AD09-5762348ED0D5}" dt="2020-08-24T13:46:30.966" v="487" actId="1076"/>
        <pc:sldMkLst>
          <pc:docMk/>
          <pc:sldMk cId="3213962413" sldId="351"/>
        </pc:sldMkLst>
        <pc:spChg chg="mod">
          <ac:chgData name="Serkan Susantez" userId="9d7d81f3-9146-4745-8c3c-a24ffadc3610" providerId="ADAL" clId="{D7D37EC6-E308-4A7D-AD09-5762348ED0D5}" dt="2020-08-24T13:46:12.070" v="483" actId="403"/>
          <ac:spMkLst>
            <pc:docMk/>
            <pc:sldMk cId="3213962413" sldId="351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3:46:16.336" v="484" actId="1076"/>
          <ac:spMkLst>
            <pc:docMk/>
            <pc:sldMk cId="3213962413" sldId="351"/>
            <ac:spMk id="3" creationId="{B697433F-BA58-4D75-B264-2602452AEE3E}"/>
          </ac:spMkLst>
        </pc:spChg>
        <pc:spChg chg="add mod">
          <ac:chgData name="Serkan Susantez" userId="9d7d81f3-9146-4745-8c3c-a24ffadc3610" providerId="ADAL" clId="{D7D37EC6-E308-4A7D-AD09-5762348ED0D5}" dt="2020-08-24T13:46:18.690" v="485" actId="1076"/>
          <ac:spMkLst>
            <pc:docMk/>
            <pc:sldMk cId="3213962413" sldId="351"/>
            <ac:spMk id="4" creationId="{0621D7CA-7B12-4562-8700-7F187F9FBEB5}"/>
          </ac:spMkLst>
        </pc:spChg>
        <pc:picChg chg="add mod">
          <ac:chgData name="Serkan Susantez" userId="9d7d81f3-9146-4745-8c3c-a24ffadc3610" providerId="ADAL" clId="{D7D37EC6-E308-4A7D-AD09-5762348ED0D5}" dt="2020-08-24T13:46:30.966" v="487" actId="1076"/>
          <ac:picMkLst>
            <pc:docMk/>
            <pc:sldMk cId="3213962413" sldId="351"/>
            <ac:picMk id="5" creationId="{086CDC02-5BB9-4F96-B434-9CD6C28AA47B}"/>
          </ac:picMkLst>
        </pc:picChg>
      </pc:sldChg>
      <pc:sldChg chg="addSp delSp modSp add mod">
        <pc:chgData name="Serkan Susantez" userId="9d7d81f3-9146-4745-8c3c-a24ffadc3610" providerId="ADAL" clId="{D7D37EC6-E308-4A7D-AD09-5762348ED0D5}" dt="2020-08-24T13:49:43.185" v="533" actId="22"/>
        <pc:sldMkLst>
          <pc:docMk/>
          <pc:sldMk cId="457934150" sldId="352"/>
        </pc:sldMkLst>
        <pc:spChg chg="mod">
          <ac:chgData name="Serkan Susantez" userId="9d7d81f3-9146-4745-8c3c-a24ffadc3610" providerId="ADAL" clId="{D7D37EC6-E308-4A7D-AD09-5762348ED0D5}" dt="2020-08-24T13:46:48.798" v="489"/>
          <ac:spMkLst>
            <pc:docMk/>
            <pc:sldMk cId="457934150" sldId="352"/>
            <ac:spMk id="2" creationId="{41DCE188-53D3-4B66-8EE3-016ED92CE95C}"/>
          </ac:spMkLst>
        </pc:spChg>
        <pc:spChg chg="del">
          <ac:chgData name="Serkan Susantez" userId="9d7d81f3-9146-4745-8c3c-a24ffadc3610" providerId="ADAL" clId="{D7D37EC6-E308-4A7D-AD09-5762348ED0D5}" dt="2020-08-24T13:47:25.174" v="517" actId="478"/>
          <ac:spMkLst>
            <pc:docMk/>
            <pc:sldMk cId="457934150" sldId="352"/>
            <ac:spMk id="3" creationId="{B697433F-BA58-4D75-B264-2602452AEE3E}"/>
          </ac:spMkLst>
        </pc:spChg>
        <pc:spChg chg="del">
          <ac:chgData name="Serkan Susantez" userId="9d7d81f3-9146-4745-8c3c-a24ffadc3610" providerId="ADAL" clId="{D7D37EC6-E308-4A7D-AD09-5762348ED0D5}" dt="2020-08-24T13:47:25.174" v="517" actId="478"/>
          <ac:spMkLst>
            <pc:docMk/>
            <pc:sldMk cId="457934150" sldId="352"/>
            <ac:spMk id="4" creationId="{0621D7CA-7B12-4562-8700-7F187F9FBEB5}"/>
          </ac:spMkLst>
        </pc:spChg>
        <pc:spChg chg="mod">
          <ac:chgData name="Serkan Susantez" userId="9d7d81f3-9146-4745-8c3c-a24ffadc3610" providerId="ADAL" clId="{D7D37EC6-E308-4A7D-AD09-5762348ED0D5}" dt="2020-08-24T13:49:29.702" v="532" actId="403"/>
          <ac:spMkLst>
            <pc:docMk/>
            <pc:sldMk cId="457934150" sldId="352"/>
            <ac:spMk id="8" creationId="{00000000-0000-0000-0000-000000000000}"/>
          </ac:spMkLst>
        </pc:spChg>
        <pc:graphicFrameChg chg="add mod modGraphic">
          <ac:chgData name="Serkan Susantez" userId="9d7d81f3-9146-4745-8c3c-a24ffadc3610" providerId="ADAL" clId="{D7D37EC6-E308-4A7D-AD09-5762348ED0D5}" dt="2020-08-24T13:48:50.741" v="529"/>
          <ac:graphicFrameMkLst>
            <pc:docMk/>
            <pc:sldMk cId="457934150" sldId="352"/>
            <ac:graphicFrameMk id="6" creationId="{C47717B5-04F1-48B0-AC9F-F9B924B93EBD}"/>
          </ac:graphicFrameMkLst>
        </pc:graphicFrameChg>
        <pc:picChg chg="del">
          <ac:chgData name="Serkan Susantez" userId="9d7d81f3-9146-4745-8c3c-a24ffadc3610" providerId="ADAL" clId="{D7D37EC6-E308-4A7D-AD09-5762348ED0D5}" dt="2020-08-24T13:47:25.174" v="517" actId="478"/>
          <ac:picMkLst>
            <pc:docMk/>
            <pc:sldMk cId="457934150" sldId="352"/>
            <ac:picMk id="5" creationId="{086CDC02-5BB9-4F96-B434-9CD6C28AA47B}"/>
          </ac:picMkLst>
        </pc:picChg>
        <pc:picChg chg="add mod">
          <ac:chgData name="Serkan Susantez" userId="9d7d81f3-9146-4745-8c3c-a24ffadc3610" providerId="ADAL" clId="{D7D37EC6-E308-4A7D-AD09-5762348ED0D5}" dt="2020-08-24T13:48:08.797" v="525" actId="1076"/>
          <ac:picMkLst>
            <pc:docMk/>
            <pc:sldMk cId="457934150" sldId="352"/>
            <ac:picMk id="7" creationId="{D4D098C1-1C8E-46F3-AC40-2B57D333DC4A}"/>
          </ac:picMkLst>
        </pc:picChg>
        <pc:picChg chg="add">
          <ac:chgData name="Serkan Susantez" userId="9d7d81f3-9146-4745-8c3c-a24ffadc3610" providerId="ADAL" clId="{D7D37EC6-E308-4A7D-AD09-5762348ED0D5}" dt="2020-08-24T13:49:43.185" v="533" actId="22"/>
          <ac:picMkLst>
            <pc:docMk/>
            <pc:sldMk cId="457934150" sldId="352"/>
            <ac:picMk id="15" creationId="{C2C5C857-2B05-4559-990D-A8AC279923D3}"/>
          </ac:picMkLst>
        </pc:picChg>
      </pc:sldChg>
      <pc:sldChg chg="addSp delSp modSp add mod">
        <pc:chgData name="Serkan Susantez" userId="9d7d81f3-9146-4745-8c3c-a24ffadc3610" providerId="ADAL" clId="{D7D37EC6-E308-4A7D-AD09-5762348ED0D5}" dt="2020-08-24T13:50:28.652" v="543" actId="12788"/>
        <pc:sldMkLst>
          <pc:docMk/>
          <pc:sldMk cId="3580533952" sldId="353"/>
        </pc:sldMkLst>
        <pc:spChg chg="mod">
          <ac:chgData name="Serkan Susantez" userId="9d7d81f3-9146-4745-8c3c-a24ffadc3610" providerId="ADAL" clId="{D7D37EC6-E308-4A7D-AD09-5762348ED0D5}" dt="2020-08-24T13:50:04.288" v="536"/>
          <ac:spMkLst>
            <pc:docMk/>
            <pc:sldMk cId="3580533952" sldId="353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3:49:59.130" v="535"/>
          <ac:spMkLst>
            <pc:docMk/>
            <pc:sldMk cId="3580533952" sldId="353"/>
            <ac:spMk id="8" creationId="{00000000-0000-0000-0000-000000000000}"/>
          </ac:spMkLst>
        </pc:spChg>
        <pc:spChg chg="add mod">
          <ac:chgData name="Serkan Susantez" userId="9d7d81f3-9146-4745-8c3c-a24ffadc3610" providerId="ADAL" clId="{D7D37EC6-E308-4A7D-AD09-5762348ED0D5}" dt="2020-08-24T13:50:28.652" v="543" actId="12788"/>
          <ac:spMkLst>
            <pc:docMk/>
            <pc:sldMk cId="3580533952" sldId="353"/>
            <ac:spMk id="10" creationId="{AB8493E6-0664-42C6-94DC-6B3D6CA6A4BA}"/>
          </ac:spMkLst>
        </pc:spChg>
        <pc:spChg chg="mod">
          <ac:chgData name="Serkan Susantez" userId="9d7d81f3-9146-4745-8c3c-a24ffadc3610" providerId="ADAL" clId="{D7D37EC6-E308-4A7D-AD09-5762348ED0D5}" dt="2020-08-24T13:50:28.652" v="543" actId="12788"/>
          <ac:spMkLst>
            <pc:docMk/>
            <pc:sldMk cId="3580533952" sldId="353"/>
            <ac:spMk id="14" creationId="{97BB0EFF-6298-442E-AE3B-4675AA5465E6}"/>
          </ac:spMkLst>
        </pc:spChg>
        <pc:spChg chg="mod">
          <ac:chgData name="Serkan Susantez" userId="9d7d81f3-9146-4745-8c3c-a24ffadc3610" providerId="ADAL" clId="{D7D37EC6-E308-4A7D-AD09-5762348ED0D5}" dt="2020-08-24T13:50:28.652" v="543" actId="12788"/>
          <ac:spMkLst>
            <pc:docMk/>
            <pc:sldMk cId="3580533952" sldId="353"/>
            <ac:spMk id="17" creationId="{FC0E7B3A-C9C3-451C-8FD6-8F96309784D7}"/>
          </ac:spMkLst>
        </pc:spChg>
        <pc:spChg chg="add mod">
          <ac:chgData name="Serkan Susantez" userId="9d7d81f3-9146-4745-8c3c-a24ffadc3610" providerId="ADAL" clId="{D7D37EC6-E308-4A7D-AD09-5762348ED0D5}" dt="2020-08-24T13:50:28.652" v="543" actId="12788"/>
          <ac:spMkLst>
            <pc:docMk/>
            <pc:sldMk cId="3580533952" sldId="353"/>
            <ac:spMk id="22" creationId="{5D26AF54-F629-49B9-9E63-B2F287D9B5C0}"/>
          </ac:spMkLst>
        </pc:spChg>
        <pc:spChg chg="mod">
          <ac:chgData name="Serkan Susantez" userId="9d7d81f3-9146-4745-8c3c-a24ffadc3610" providerId="ADAL" clId="{D7D37EC6-E308-4A7D-AD09-5762348ED0D5}" dt="2020-08-24T13:50:28.652" v="543" actId="12788"/>
          <ac:spMkLst>
            <pc:docMk/>
            <pc:sldMk cId="3580533952" sldId="353"/>
            <ac:spMk id="28" creationId="{AF0F4C3D-4B04-40DA-99D5-BDD41819F6E9}"/>
          </ac:spMkLst>
        </pc:spChg>
        <pc:grpChg chg="add 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3" creationId="{C47CA3F9-8D7E-427D-9D50-0B4F0F2B242D}"/>
          </ac:grpSpMkLst>
        </pc:grpChg>
        <pc:grpChg chg="add 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13" creationId="{017AAC8F-51F9-447C-BD18-32A870FFC02E}"/>
          </ac:grpSpMkLst>
        </pc:grpChg>
        <pc:grpChg chg="add 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18" creationId="{0FFD7AC1-AF07-44BA-8761-3CBC09C81D27}"/>
          </ac:grpSpMkLst>
        </pc:grpChg>
        <pc:grpChg chg="add 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23" creationId="{427B1132-2050-4CA2-8307-D2CDFD7A0289}"/>
          </ac:grpSpMkLst>
        </pc:grpChg>
        <pc:grpChg chg="add 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27" creationId="{C900BC8A-1B16-4AA3-BD97-0E467AB0AC60}"/>
          </ac:grpSpMkLst>
        </pc:grpChg>
        <pc:grpChg chg="mod">
          <ac:chgData name="Serkan Susantez" userId="9d7d81f3-9146-4745-8c3c-a24ffadc3610" providerId="ADAL" clId="{D7D37EC6-E308-4A7D-AD09-5762348ED0D5}" dt="2020-08-24T13:50:28.652" v="543" actId="12788"/>
          <ac:grpSpMkLst>
            <pc:docMk/>
            <pc:sldMk cId="3580533952" sldId="353"/>
            <ac:grpSpMk id="29" creationId="{E169AAE9-0B7E-483D-AC64-35808A3ED5C4}"/>
          </ac:grpSpMkLst>
        </pc:grpChg>
        <pc:graphicFrameChg chg="del">
          <ac:chgData name="Serkan Susantez" userId="9d7d81f3-9146-4745-8c3c-a24ffadc3610" providerId="ADAL" clId="{D7D37EC6-E308-4A7D-AD09-5762348ED0D5}" dt="2020-08-24T13:50:06.631" v="537" actId="478"/>
          <ac:graphicFrameMkLst>
            <pc:docMk/>
            <pc:sldMk cId="3580533952" sldId="353"/>
            <ac:graphicFrameMk id="6" creationId="{C47717B5-04F1-48B0-AC9F-F9B924B93EBD}"/>
          </ac:graphicFrameMkLst>
        </pc:graphicFrameChg>
        <pc:picChg chg="del">
          <ac:chgData name="Serkan Susantez" userId="9d7d81f3-9146-4745-8c3c-a24ffadc3610" providerId="ADAL" clId="{D7D37EC6-E308-4A7D-AD09-5762348ED0D5}" dt="2020-08-24T13:50:07.213" v="538" actId="478"/>
          <ac:picMkLst>
            <pc:docMk/>
            <pc:sldMk cId="3580533952" sldId="353"/>
            <ac:picMk id="7" creationId="{D4D098C1-1C8E-46F3-AC40-2B57D333DC4A}"/>
          </ac:picMkLst>
        </pc:picChg>
        <pc:picChg chg="del">
          <ac:chgData name="Serkan Susantez" userId="9d7d81f3-9146-4745-8c3c-a24ffadc3610" providerId="ADAL" clId="{D7D37EC6-E308-4A7D-AD09-5762348ED0D5}" dt="2020-08-24T13:50:08.637" v="539" actId="478"/>
          <ac:picMkLst>
            <pc:docMk/>
            <pc:sldMk cId="3580533952" sldId="353"/>
            <ac:picMk id="15" creationId="{C2C5C857-2B05-4559-990D-A8AC279923D3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16" creationId="{B7B63FF0-BA70-4F57-ADD7-4B46F7560F8B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19" creationId="{2030EDAD-3717-43EE-87C4-A26A1FA949AF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20" creationId="{C2B324EE-DA83-4D3C-9B54-53CF20444959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21" creationId="{AD166E8F-0F5F-4CB1-9F80-942DB85602FA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24" creationId="{1C6C93DF-15CA-4D15-AE23-2A53033C2F84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25" creationId="{18862A2D-A7DB-4B69-BD50-4A17B644395F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26" creationId="{4B573D90-CA4C-4B0E-B424-0BD9C891FFE8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30" creationId="{DB1743AC-533C-4B65-BE2C-3AA0C2DB78CF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31" creationId="{34C683D5-87ED-44D8-B574-9D97D6368651}"/>
          </ac:picMkLst>
        </pc:picChg>
        <pc:picChg chg="mod">
          <ac:chgData name="Serkan Susantez" userId="9d7d81f3-9146-4745-8c3c-a24ffadc3610" providerId="ADAL" clId="{D7D37EC6-E308-4A7D-AD09-5762348ED0D5}" dt="2020-08-24T13:50:28.652" v="543" actId="12788"/>
          <ac:picMkLst>
            <pc:docMk/>
            <pc:sldMk cId="3580533952" sldId="353"/>
            <ac:picMk id="32" creationId="{0DF55A15-1E8B-4DAB-86DF-7B1F0949318C}"/>
          </ac:picMkLst>
        </pc:picChg>
      </pc:sldChg>
      <pc:sldChg chg="modSp add mod">
        <pc:chgData name="Serkan Susantez" userId="9d7d81f3-9146-4745-8c3c-a24ffadc3610" providerId="ADAL" clId="{D7D37EC6-E308-4A7D-AD09-5762348ED0D5}" dt="2020-08-24T13:51:28.443" v="551" actId="403"/>
        <pc:sldMkLst>
          <pc:docMk/>
          <pc:sldMk cId="3919108133" sldId="354"/>
        </pc:sldMkLst>
        <pc:spChg chg="mod">
          <ac:chgData name="Serkan Susantez" userId="9d7d81f3-9146-4745-8c3c-a24ffadc3610" providerId="ADAL" clId="{D7D37EC6-E308-4A7D-AD09-5762348ED0D5}" dt="2020-08-24T13:51:28.443" v="551" actId="403"/>
          <ac:spMkLst>
            <pc:docMk/>
            <pc:sldMk cId="3919108133" sldId="354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3:51:24.894" v="550" actId="403"/>
          <ac:spMkLst>
            <pc:docMk/>
            <pc:sldMk cId="3919108133" sldId="354"/>
            <ac:spMk id="3" creationId="{B697433F-BA58-4D75-B264-2602452AEE3E}"/>
          </ac:spMkLst>
        </pc:spChg>
        <pc:spChg chg="mod">
          <ac:chgData name="Serkan Susantez" userId="9d7d81f3-9146-4745-8c3c-a24ffadc3610" providerId="ADAL" clId="{D7D37EC6-E308-4A7D-AD09-5762348ED0D5}" dt="2020-08-24T13:50:46.237" v="545"/>
          <ac:spMkLst>
            <pc:docMk/>
            <pc:sldMk cId="3919108133" sldId="354"/>
            <ac:spMk id="8" creationId="{00000000-0000-0000-0000-000000000000}"/>
          </ac:spMkLst>
        </pc:spChg>
      </pc:sldChg>
      <pc:sldChg chg="addSp delSp modSp add mod">
        <pc:chgData name="Serkan Susantez" userId="9d7d81f3-9146-4745-8c3c-a24ffadc3610" providerId="ADAL" clId="{D7D37EC6-E308-4A7D-AD09-5762348ED0D5}" dt="2020-08-24T13:54:36.065" v="614" actId="1035"/>
        <pc:sldMkLst>
          <pc:docMk/>
          <pc:sldMk cId="2856165103" sldId="355"/>
        </pc:sldMkLst>
        <pc:spChg chg="del">
          <ac:chgData name="Serkan Susantez" userId="9d7d81f3-9146-4745-8c3c-a24ffadc3610" providerId="ADAL" clId="{D7D37EC6-E308-4A7D-AD09-5762348ED0D5}" dt="2020-08-24T13:52:44.899" v="561" actId="478"/>
          <ac:spMkLst>
            <pc:docMk/>
            <pc:sldMk cId="2856165103" sldId="355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3:52:42.119" v="560"/>
          <ac:spMkLst>
            <pc:docMk/>
            <pc:sldMk cId="2856165103" sldId="355"/>
            <ac:spMk id="8" creationId="{00000000-0000-0000-0000-000000000000}"/>
          </ac:spMkLst>
        </pc:spChg>
        <pc:spChg chg="mod">
          <ac:chgData name="Serkan Susantez" userId="9d7d81f3-9146-4745-8c3c-a24ffadc3610" providerId="ADAL" clId="{D7D37EC6-E308-4A7D-AD09-5762348ED0D5}" dt="2020-08-24T13:53:49.488" v="577" actId="1076"/>
          <ac:spMkLst>
            <pc:docMk/>
            <pc:sldMk cId="2856165103" sldId="355"/>
            <ac:spMk id="35" creationId="{DEE9C40D-C557-4AAD-B797-52E7F8B0FE70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2" creationId="{0488B60A-5D2A-4B4E-A09C-DAD9D536F4EA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3" creationId="{ACE8C8C2-538B-4879-BABC-B1A4913701A2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4" creationId="{64730E10-0A3D-474F-B48F-790B19D72126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5" creationId="{9FAC211B-1918-451E-A227-429F3EFCF815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6" creationId="{F2CD982C-F79B-4932-BBDA-46C39557EE95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7" creationId="{EEA09808-B39A-46F1-9892-42D6380B4687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8" creationId="{991A7794-96DE-462E-95F3-79BD15137585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49" creationId="{5D27BBF7-276E-4D1F-ABF7-8C5E76F41A25}"/>
          </ac:spMkLst>
        </pc:spChg>
        <pc:spChg chg="add mod">
          <ac:chgData name="Serkan Susantez" userId="9d7d81f3-9146-4745-8c3c-a24ffadc3610" providerId="ADAL" clId="{D7D37EC6-E308-4A7D-AD09-5762348ED0D5}" dt="2020-08-24T13:53:13.322" v="565" actId="1076"/>
          <ac:spMkLst>
            <pc:docMk/>
            <pc:sldMk cId="2856165103" sldId="355"/>
            <ac:spMk id="50" creationId="{72C96540-A884-4603-AD10-5CE24B3E1376}"/>
          </ac:spMkLst>
        </pc:spChg>
        <pc:spChg chg="add mod">
          <ac:chgData name="Serkan Susantez" userId="9d7d81f3-9146-4745-8c3c-a24ffadc3610" providerId="ADAL" clId="{D7D37EC6-E308-4A7D-AD09-5762348ED0D5}" dt="2020-08-24T13:53:22.029" v="568" actId="1076"/>
          <ac:spMkLst>
            <pc:docMk/>
            <pc:sldMk cId="2856165103" sldId="355"/>
            <ac:spMk id="51" creationId="{3C150045-3A79-42CF-BC2C-36DD85664DC9}"/>
          </ac:spMkLst>
        </pc:spChg>
        <pc:spChg chg="add mod">
          <ac:chgData name="Serkan Susantez" userId="9d7d81f3-9146-4745-8c3c-a24ffadc3610" providerId="ADAL" clId="{D7D37EC6-E308-4A7D-AD09-5762348ED0D5}" dt="2020-08-24T13:54:13.539" v="589" actId="1036"/>
          <ac:spMkLst>
            <pc:docMk/>
            <pc:sldMk cId="2856165103" sldId="355"/>
            <ac:spMk id="52" creationId="{813CA922-6DC0-439D-9285-0EE44A16E593}"/>
          </ac:spMkLst>
        </pc:spChg>
        <pc:spChg chg="add mod">
          <ac:chgData name="Serkan Susantez" userId="9d7d81f3-9146-4745-8c3c-a24ffadc3610" providerId="ADAL" clId="{D7D37EC6-E308-4A7D-AD09-5762348ED0D5}" dt="2020-08-24T13:54:13.539" v="589" actId="1036"/>
          <ac:spMkLst>
            <pc:docMk/>
            <pc:sldMk cId="2856165103" sldId="355"/>
            <ac:spMk id="53" creationId="{E4427DE1-C2E7-4A2D-A8E3-363BBE7EEDAF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60" creationId="{5F652A74-98E3-4AB1-86B1-FF7999B3B7CF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61" creationId="{D33BEF81-11FC-4521-BAC5-C66BE07B3CA8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62" creationId="{557F8E58-15A0-4F46-883A-EAA8032059DF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65" creationId="{D4DF11C2-1589-4031-AEC9-0E86E7B60014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66" creationId="{3D217F78-B477-4825-8DB5-B629BF728852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67" creationId="{1A5FB864-7803-4ECF-A793-9B1C50295E95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0" creationId="{333FF766-7D06-44FD-91ED-8F9D4017C083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1" creationId="{E16B059E-1117-478F-A4D3-50F22B19EB4F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2" creationId="{4AB4FA89-9B24-43B5-9D2D-56608A617939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5" creationId="{2591B16D-B192-4C03-9337-23D5E75FF2B6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6" creationId="{C7E236C6-0A6C-4C7A-9684-00E997068A27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77" creationId="{75D4CD6A-E3F1-4A6B-B852-C15C2D0B39AA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80" creationId="{9CC0A644-30D5-471B-BF9F-CA6855A1E2F1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81" creationId="{584EBC23-6686-4026-82B2-7DB99B865771}"/>
          </ac:spMkLst>
        </pc:spChg>
        <pc:spChg chg="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82" creationId="{3E4EFF3A-FDE0-4C31-BD5C-DAB08E0C0A07}"/>
          </ac:spMkLst>
        </pc:spChg>
        <pc:spChg chg="add mod">
          <ac:chgData name="Serkan Susantez" userId="9d7d81f3-9146-4745-8c3c-a24ffadc3610" providerId="ADAL" clId="{D7D37EC6-E308-4A7D-AD09-5762348ED0D5}" dt="2020-08-24T13:54:36.065" v="614" actId="1035"/>
          <ac:spMkLst>
            <pc:docMk/>
            <pc:sldMk cId="2856165103" sldId="355"/>
            <ac:spMk id="88" creationId="{F4DD7D2E-91DF-417E-AF67-F99B1A6A2FAC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90" creationId="{926439D1-6F1C-4C2F-B006-D2BB9786A0CC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91" creationId="{77CFFC79-2DAD-4CC3-9C8C-04CD575520A4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92" creationId="{8A3D1009-7CE6-4FCC-8650-6BE07FD4A9FF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93" creationId="{205C1E5B-AB4D-4EEE-8115-713284678EF6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94" creationId="{2274860E-DA81-4CB0-B680-1FA2182FA044}"/>
          </ac:spMkLst>
        </pc:spChg>
        <pc:spChg chg="add mod">
          <ac:chgData name="Serkan Susantez" userId="9d7d81f3-9146-4745-8c3c-a24ffadc3610" providerId="ADAL" clId="{D7D37EC6-E308-4A7D-AD09-5762348ED0D5}" dt="2020-08-24T13:53:08.665" v="564" actId="2711"/>
          <ac:spMkLst>
            <pc:docMk/>
            <pc:sldMk cId="2856165103" sldId="355"/>
            <ac:spMk id="101" creationId="{A506EB93-A20D-4DCC-BFA1-89B95C166C66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103" creationId="{3CBBEF1D-6D81-4813-8F81-F9DCB8643586}"/>
          </ac:spMkLst>
        </pc:spChg>
        <pc:spChg chg="mod">
          <ac:chgData name="Serkan Susantez" userId="9d7d81f3-9146-4745-8c3c-a24ffadc3610" providerId="ADAL" clId="{D7D37EC6-E308-4A7D-AD09-5762348ED0D5}" dt="2020-08-24T13:52:52.286" v="563"/>
          <ac:spMkLst>
            <pc:docMk/>
            <pc:sldMk cId="2856165103" sldId="355"/>
            <ac:spMk id="104" creationId="{7AF07913-DA35-46AF-BF13-D506BD3C4725}"/>
          </ac:spMkLst>
        </pc:spChg>
        <pc:grpChg chg="del">
          <ac:chgData name="Serkan Susantez" userId="9d7d81f3-9146-4745-8c3c-a24ffadc3610" providerId="ADAL" clId="{D7D37EC6-E308-4A7D-AD09-5762348ED0D5}" dt="2020-08-24T13:52:45.767" v="562" actId="478"/>
          <ac:grpSpMkLst>
            <pc:docMk/>
            <pc:sldMk cId="2856165103" sldId="355"/>
            <ac:grpSpMk id="3" creationId="{C47CA3F9-8D7E-427D-9D50-0B4F0F2B242D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34" creationId="{9E2134DF-4F3F-4113-9E06-C90834229B35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37" creationId="{9DFC46A4-61CA-49BC-88E0-6D69DDAC9652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40" creationId="{0DE14B43-1258-4B59-8C4B-179316C41DFB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41" creationId="{0E5AF4E9-FAD1-469D-AF43-C8A02200A4F9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59" creationId="{AF57AE07-FA3A-4B65-99A5-A4AC973FB0BE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63" creationId="{6550D94B-7E14-4B84-8A98-7F4A6224C997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64" creationId="{2BE89702-EA3D-4F76-841A-BE1CC23774B1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68" creationId="{4354C4BC-4DB4-4C3B-A4FA-7D05B1FE7F99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69" creationId="{0F117CC3-B9D0-4A43-B0EB-3FC6C8F58197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73" creationId="{0883FB5C-A7F5-4574-A9AA-EBF2834A58FD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74" creationId="{02959363-53C3-4307-8229-E0A50BB6EAD3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78" creationId="{AC9C2719-8F11-4EC1-9819-5A91BCBBE5E6}"/>
          </ac:grpSpMkLst>
        </pc:grpChg>
        <pc:grpChg chg="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79" creationId="{F269D69A-0FA6-4404-88EC-D1575084CD18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89" creationId="{205A888E-87AB-4789-8AB0-49B883004FAA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95" creationId="{93BE85AE-8556-44AF-AC62-9694BB17EB09}"/>
          </ac:grpSpMkLst>
        </pc:grpChg>
        <pc:grpChg chg="add mod">
          <ac:chgData name="Serkan Susantez" userId="9d7d81f3-9146-4745-8c3c-a24ffadc3610" providerId="ADAL" clId="{D7D37EC6-E308-4A7D-AD09-5762348ED0D5}" dt="2020-08-24T13:53:08.665" v="564" actId="2711"/>
          <ac:grpSpMkLst>
            <pc:docMk/>
            <pc:sldMk cId="2856165103" sldId="355"/>
            <ac:grpSpMk id="102" creationId="{05B9E101-13F6-42D8-B559-62EBA0CADE0C}"/>
          </ac:grpSpMkLst>
        </pc:grpChg>
        <pc:picChg chg="add mod">
          <ac:chgData name="Serkan Susantez" userId="9d7d81f3-9146-4745-8c3c-a24ffadc3610" providerId="ADAL" clId="{D7D37EC6-E308-4A7D-AD09-5762348ED0D5}" dt="2020-08-24T13:53:08.665" v="564" actId="2711"/>
          <ac:picMkLst>
            <pc:docMk/>
            <pc:sldMk cId="2856165103" sldId="355"/>
            <ac:picMk id="33" creationId="{E51CBEB5-7FB3-4748-8BE7-5449EB57E28A}"/>
          </ac:picMkLst>
        </pc:picChg>
        <pc:picChg chg="mod">
          <ac:chgData name="Serkan Susantez" userId="9d7d81f3-9146-4745-8c3c-a24ffadc3610" providerId="ADAL" clId="{D7D37EC6-E308-4A7D-AD09-5762348ED0D5}" dt="2020-08-24T13:53:08.665" v="564" actId="2711"/>
          <ac:picMkLst>
            <pc:docMk/>
            <pc:sldMk cId="2856165103" sldId="355"/>
            <ac:picMk id="36" creationId="{3B7D5A50-22CD-4403-89B4-08691E422908}"/>
          </ac:picMkLst>
        </pc:picChg>
        <pc:picChg chg="mod">
          <ac:chgData name="Serkan Susantez" userId="9d7d81f3-9146-4745-8c3c-a24ffadc3610" providerId="ADAL" clId="{D7D37EC6-E308-4A7D-AD09-5762348ED0D5}" dt="2020-08-24T13:53:08.665" v="564" actId="2711"/>
          <ac:picMkLst>
            <pc:docMk/>
            <pc:sldMk cId="2856165103" sldId="355"/>
            <ac:picMk id="38" creationId="{C566484F-36C9-4BEA-B2F3-E7DF902381CB}"/>
          </ac:picMkLst>
        </pc:picChg>
        <pc:picChg chg="mod">
          <ac:chgData name="Serkan Susantez" userId="9d7d81f3-9146-4745-8c3c-a24ffadc3610" providerId="ADAL" clId="{D7D37EC6-E308-4A7D-AD09-5762348ED0D5}" dt="2020-08-24T13:53:08.665" v="564" actId="2711"/>
          <ac:picMkLst>
            <pc:docMk/>
            <pc:sldMk cId="2856165103" sldId="355"/>
            <ac:picMk id="39" creationId="{80C24DDC-AA39-469F-8F43-E5DFD9CDADA1}"/>
          </ac:picMkLst>
        </pc:picChg>
        <pc:picChg chg="mod">
          <ac:chgData name="Serkan Susantez" userId="9d7d81f3-9146-4745-8c3c-a24ffadc3610" providerId="ADAL" clId="{D7D37EC6-E308-4A7D-AD09-5762348ED0D5}" dt="2020-08-24T13:52:52.286" v="563"/>
          <ac:picMkLst>
            <pc:docMk/>
            <pc:sldMk cId="2856165103" sldId="355"/>
            <ac:picMk id="96" creationId="{FEF2DC04-1489-43EA-9D01-943868B8B2FE}"/>
          </ac:picMkLst>
        </pc:picChg>
        <pc:picChg chg="mod">
          <ac:chgData name="Serkan Susantez" userId="9d7d81f3-9146-4745-8c3c-a24ffadc3610" providerId="ADAL" clId="{D7D37EC6-E308-4A7D-AD09-5762348ED0D5}" dt="2020-08-24T13:52:52.286" v="563"/>
          <ac:picMkLst>
            <pc:docMk/>
            <pc:sldMk cId="2856165103" sldId="355"/>
            <ac:picMk id="97" creationId="{ED60114A-ED64-4611-BF07-5D92604C4021}"/>
          </ac:picMkLst>
        </pc:picChg>
        <pc:picChg chg="mod">
          <ac:chgData name="Serkan Susantez" userId="9d7d81f3-9146-4745-8c3c-a24ffadc3610" providerId="ADAL" clId="{D7D37EC6-E308-4A7D-AD09-5762348ED0D5}" dt="2020-08-24T13:52:52.286" v="563"/>
          <ac:picMkLst>
            <pc:docMk/>
            <pc:sldMk cId="2856165103" sldId="355"/>
            <ac:picMk id="98" creationId="{AAF8B83A-0C75-4E83-8715-4C7F2358DC7F}"/>
          </ac:picMkLst>
        </pc:picChg>
        <pc:cxnChg chg="add mod">
          <ac:chgData name="Serkan Susantez" userId="9d7d81f3-9146-4745-8c3c-a24ffadc3610" providerId="ADAL" clId="{D7D37EC6-E308-4A7D-AD09-5762348ED0D5}" dt="2020-08-24T13:54:16.795" v="590" actId="14100"/>
          <ac:cxnSpMkLst>
            <pc:docMk/>
            <pc:sldMk cId="2856165103" sldId="355"/>
            <ac:cxnSpMk id="54" creationId="{8443B5CD-7437-4632-8A13-B0C3D5BEFDFB}"/>
          </ac:cxnSpMkLst>
        </pc:cxnChg>
        <pc:cxnChg chg="add mod">
          <ac:chgData name="Serkan Susantez" userId="9d7d81f3-9146-4745-8c3c-a24ffadc3610" providerId="ADAL" clId="{D7D37EC6-E308-4A7D-AD09-5762348ED0D5}" dt="2020-08-24T13:54:21.047" v="591" actId="14100"/>
          <ac:cxnSpMkLst>
            <pc:docMk/>
            <pc:sldMk cId="2856165103" sldId="355"/>
            <ac:cxnSpMk id="55" creationId="{13726E40-62F7-445E-9B7E-5603642CD28C}"/>
          </ac:cxnSpMkLst>
        </pc:cxnChg>
        <pc:cxnChg chg="add mod">
          <ac:chgData name="Serkan Susantez" userId="9d7d81f3-9146-4745-8c3c-a24ffadc3610" providerId="ADAL" clId="{D7D37EC6-E308-4A7D-AD09-5762348ED0D5}" dt="2020-08-24T13:54:13.539" v="589" actId="1036"/>
          <ac:cxnSpMkLst>
            <pc:docMk/>
            <pc:sldMk cId="2856165103" sldId="355"/>
            <ac:cxnSpMk id="56" creationId="{25D896C8-B04A-4469-88DB-A6D472001DD4}"/>
          </ac:cxnSpMkLst>
        </pc:cxnChg>
        <pc:cxnChg chg="add mod">
          <ac:chgData name="Serkan Susantez" userId="9d7d81f3-9146-4745-8c3c-a24ffadc3610" providerId="ADAL" clId="{D7D37EC6-E308-4A7D-AD09-5762348ED0D5}" dt="2020-08-24T13:54:13.539" v="589" actId="1036"/>
          <ac:cxnSpMkLst>
            <pc:docMk/>
            <pc:sldMk cId="2856165103" sldId="355"/>
            <ac:cxnSpMk id="57" creationId="{AC9D346C-FD99-4781-9B6C-45BF829CA59E}"/>
          </ac:cxnSpMkLst>
        </pc:cxnChg>
        <pc:cxnChg chg="add mod">
          <ac:chgData name="Serkan Susantez" userId="9d7d81f3-9146-4745-8c3c-a24ffadc3610" providerId="ADAL" clId="{D7D37EC6-E308-4A7D-AD09-5762348ED0D5}" dt="2020-08-24T13:53:49.488" v="577" actId="1076"/>
          <ac:cxnSpMkLst>
            <pc:docMk/>
            <pc:sldMk cId="2856165103" sldId="355"/>
            <ac:cxnSpMk id="58" creationId="{2D387CD3-F206-48AA-B9C2-C81D3CED98F7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83" creationId="{CD143099-90CD-40F7-9BE1-7EB9FF0D7906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84" creationId="{A022BE69-2D15-466C-A5AE-E6BF527966C3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85" creationId="{F81BF7E8-248F-42EC-84D0-6BAE7BE288FC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86" creationId="{CA8FA755-EC80-44CB-953C-9981CBD32123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87" creationId="{D1BE8656-0880-4B49-A0A4-A28C16411044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99" creationId="{4DB9E18D-8EAB-48C3-8EFD-830049942DFF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100" creationId="{9FADFE93-D203-4CB6-8E23-8CEF3480571B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105" creationId="{11CFAA2A-44C5-492C-A3DD-00EF2AE0F06A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106" creationId="{8DBC5FD5-CDB5-41A3-8A78-B7F11516C997}"/>
          </ac:cxnSpMkLst>
        </pc:cxnChg>
        <pc:cxnChg chg="add mod">
          <ac:chgData name="Serkan Susantez" userId="9d7d81f3-9146-4745-8c3c-a24ffadc3610" providerId="ADAL" clId="{D7D37EC6-E308-4A7D-AD09-5762348ED0D5}" dt="2020-08-24T13:53:08.665" v="564" actId="2711"/>
          <ac:cxnSpMkLst>
            <pc:docMk/>
            <pc:sldMk cId="2856165103" sldId="355"/>
            <ac:cxnSpMk id="107" creationId="{6ABBEEAE-216E-4B82-8FA9-376B4067A6AB}"/>
          </ac:cxnSpMkLst>
        </pc:cxnChg>
      </pc:sldChg>
      <pc:sldChg chg="modSp add mod">
        <pc:chgData name="Serkan Susantez" userId="9d7d81f3-9146-4745-8c3c-a24ffadc3610" providerId="ADAL" clId="{D7D37EC6-E308-4A7D-AD09-5762348ED0D5}" dt="2020-08-24T13:55:07.920" v="619" actId="6549"/>
        <pc:sldMkLst>
          <pc:docMk/>
          <pc:sldMk cId="2074870057" sldId="356"/>
        </pc:sldMkLst>
        <pc:spChg chg="mod">
          <ac:chgData name="Serkan Susantez" userId="9d7d81f3-9146-4745-8c3c-a24ffadc3610" providerId="ADAL" clId="{D7D37EC6-E308-4A7D-AD09-5762348ED0D5}" dt="2020-08-24T13:54:59.086" v="617"/>
          <ac:spMkLst>
            <pc:docMk/>
            <pc:sldMk cId="2074870057" sldId="356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3:55:07.920" v="619" actId="6549"/>
          <ac:spMkLst>
            <pc:docMk/>
            <pc:sldMk cId="2074870057" sldId="356"/>
            <ac:spMk id="3" creationId="{B697433F-BA58-4D75-B264-2602452AEE3E}"/>
          </ac:spMkLst>
        </pc:spChg>
        <pc:spChg chg="mod">
          <ac:chgData name="Serkan Susantez" userId="9d7d81f3-9146-4745-8c3c-a24ffadc3610" providerId="ADAL" clId="{D7D37EC6-E308-4A7D-AD09-5762348ED0D5}" dt="2020-08-24T13:54:52.535" v="616"/>
          <ac:spMkLst>
            <pc:docMk/>
            <pc:sldMk cId="2074870057" sldId="356"/>
            <ac:spMk id="8" creationId="{00000000-0000-0000-0000-000000000000}"/>
          </ac:spMkLst>
        </pc:spChg>
      </pc:sldChg>
      <pc:sldChg chg="addSp delSp modSp add mod">
        <pc:chgData name="Serkan Susantez" userId="9d7d81f3-9146-4745-8c3c-a24ffadc3610" providerId="ADAL" clId="{D7D37EC6-E308-4A7D-AD09-5762348ED0D5}" dt="2020-08-24T13:57:47.988" v="650" actId="6549"/>
        <pc:sldMkLst>
          <pc:docMk/>
          <pc:sldMk cId="756686411" sldId="357"/>
        </pc:sldMkLst>
        <pc:spChg chg="mod ord">
          <ac:chgData name="Serkan Susantez" userId="9d7d81f3-9146-4745-8c3c-a24ffadc3610" providerId="ADAL" clId="{D7D37EC6-E308-4A7D-AD09-5762348ED0D5}" dt="2020-08-24T13:57:18.026" v="643"/>
          <ac:spMkLst>
            <pc:docMk/>
            <pc:sldMk cId="756686411" sldId="357"/>
            <ac:spMk id="2" creationId="{41DCE188-53D3-4B66-8EE3-016ED92CE95C}"/>
          </ac:spMkLst>
        </pc:spChg>
        <pc:spChg chg="add del mod">
          <ac:chgData name="Serkan Susantez" userId="9d7d81f3-9146-4745-8c3c-a24ffadc3610" providerId="ADAL" clId="{D7D37EC6-E308-4A7D-AD09-5762348ED0D5}" dt="2020-08-24T13:57:16.815" v="641" actId="478"/>
          <ac:spMkLst>
            <pc:docMk/>
            <pc:sldMk cId="756686411" sldId="357"/>
            <ac:spMk id="3" creationId="{B697433F-BA58-4D75-B264-2602452AEE3E}"/>
          </ac:spMkLst>
        </pc:spChg>
        <pc:spChg chg="mod">
          <ac:chgData name="Serkan Susantez" userId="9d7d81f3-9146-4745-8c3c-a24ffadc3610" providerId="ADAL" clId="{D7D37EC6-E308-4A7D-AD09-5762348ED0D5}" dt="2020-08-24T13:57:47.988" v="650" actId="6549"/>
          <ac:spMkLst>
            <pc:docMk/>
            <pc:sldMk cId="756686411" sldId="357"/>
            <ac:spMk id="8" creationId="{00000000-0000-0000-0000-000000000000}"/>
          </ac:spMkLst>
        </pc:spChg>
        <pc:spChg chg="add del">
          <ac:chgData name="Serkan Susantez" userId="9d7d81f3-9146-4745-8c3c-a24ffadc3610" providerId="ADAL" clId="{D7D37EC6-E308-4A7D-AD09-5762348ED0D5}" dt="2020-08-24T13:57:28.823" v="645" actId="22"/>
          <ac:spMkLst>
            <pc:docMk/>
            <pc:sldMk cId="756686411" sldId="357"/>
            <ac:spMk id="13" creationId="{E9152D1D-4372-420F-A3B2-4ED4E13CCE3D}"/>
          </ac:spMkLst>
        </pc:spChg>
        <pc:picChg chg="add del mod">
          <ac:chgData name="Serkan Susantez" userId="9d7d81f3-9146-4745-8c3c-a24ffadc3610" providerId="ADAL" clId="{D7D37EC6-E308-4A7D-AD09-5762348ED0D5}" dt="2020-08-24T13:57:15.700" v="640" actId="478"/>
          <ac:picMkLst>
            <pc:docMk/>
            <pc:sldMk cId="756686411" sldId="357"/>
            <ac:picMk id="4" creationId="{14CA5E8E-9B07-4DB3-84A8-5E21C45FA913}"/>
          </ac:picMkLst>
        </pc:picChg>
      </pc:sldChg>
      <pc:sldChg chg="delSp modSp add mod">
        <pc:chgData name="Serkan Susantez" userId="9d7d81f3-9146-4745-8c3c-a24ffadc3610" providerId="ADAL" clId="{D7D37EC6-E308-4A7D-AD09-5762348ED0D5}" dt="2020-08-24T13:57:44.549" v="649"/>
        <pc:sldMkLst>
          <pc:docMk/>
          <pc:sldMk cId="2639204034" sldId="358"/>
        </pc:sldMkLst>
        <pc:spChg chg="mod">
          <ac:chgData name="Serkan Susantez" userId="9d7d81f3-9146-4745-8c3c-a24ffadc3610" providerId="ADAL" clId="{D7D37EC6-E308-4A7D-AD09-5762348ED0D5}" dt="2020-08-24T13:57:44.549" v="649"/>
          <ac:spMkLst>
            <pc:docMk/>
            <pc:sldMk cId="2639204034" sldId="358"/>
            <ac:spMk id="2" creationId="{41DCE188-53D3-4B66-8EE3-016ED92CE95C}"/>
          </ac:spMkLst>
        </pc:spChg>
        <pc:spChg chg="del">
          <ac:chgData name="Serkan Susantez" userId="9d7d81f3-9146-4745-8c3c-a24ffadc3610" providerId="ADAL" clId="{D7D37EC6-E308-4A7D-AD09-5762348ED0D5}" dt="2020-08-24T13:57:34.439" v="647" actId="478"/>
          <ac:spMkLst>
            <pc:docMk/>
            <pc:sldMk cId="2639204034" sldId="358"/>
            <ac:spMk id="3" creationId="{B697433F-BA58-4D75-B264-2602452AEE3E}"/>
          </ac:spMkLst>
        </pc:spChg>
        <pc:picChg chg="del">
          <ac:chgData name="Serkan Susantez" userId="9d7d81f3-9146-4745-8c3c-a24ffadc3610" providerId="ADAL" clId="{D7D37EC6-E308-4A7D-AD09-5762348ED0D5}" dt="2020-08-24T13:57:35" v="648" actId="478"/>
          <ac:picMkLst>
            <pc:docMk/>
            <pc:sldMk cId="2639204034" sldId="358"/>
            <ac:picMk id="4" creationId="{14CA5E8E-9B07-4DB3-84A8-5E21C45FA913}"/>
          </ac:picMkLst>
        </pc:picChg>
      </pc:sldChg>
      <pc:sldChg chg="addSp modSp add mod">
        <pc:chgData name="Serkan Susantez" userId="9d7d81f3-9146-4745-8c3c-a24ffadc3610" providerId="ADAL" clId="{D7D37EC6-E308-4A7D-AD09-5762348ED0D5}" dt="2020-08-26T06:48:45.712" v="1211" actId="20577"/>
        <pc:sldMkLst>
          <pc:docMk/>
          <pc:sldMk cId="654391092" sldId="359"/>
        </pc:sldMkLst>
        <pc:spChg chg="mod">
          <ac:chgData name="Serkan Susantez" userId="9d7d81f3-9146-4745-8c3c-a24ffadc3610" providerId="ADAL" clId="{D7D37EC6-E308-4A7D-AD09-5762348ED0D5}" dt="2020-08-24T13:58:37.671" v="652"/>
          <ac:spMkLst>
            <pc:docMk/>
            <pc:sldMk cId="654391092" sldId="359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4:00:01.243" v="667" actId="1036"/>
          <ac:spMkLst>
            <pc:docMk/>
            <pc:sldMk cId="654391092" sldId="359"/>
            <ac:spMk id="3" creationId="{B697433F-BA58-4D75-B264-2602452AEE3E}"/>
          </ac:spMkLst>
        </pc:spChg>
        <pc:spChg chg="add mod">
          <ac:chgData name="Serkan Susantez" userId="9d7d81f3-9146-4745-8c3c-a24ffadc3610" providerId="ADAL" clId="{D7D37EC6-E308-4A7D-AD09-5762348ED0D5}" dt="2020-08-26T06:48:45.712" v="1211" actId="20577"/>
          <ac:spMkLst>
            <pc:docMk/>
            <pc:sldMk cId="654391092" sldId="359"/>
            <ac:spMk id="4" creationId="{F5AA293F-8089-42AE-AF30-5EF161FF71F3}"/>
          </ac:spMkLst>
        </pc:spChg>
        <pc:spChg chg="mod">
          <ac:chgData name="Serkan Susantez" userId="9d7d81f3-9146-4745-8c3c-a24ffadc3610" providerId="ADAL" clId="{D7D37EC6-E308-4A7D-AD09-5762348ED0D5}" dt="2020-08-24T13:58:39.864" v="655" actId="20577"/>
          <ac:spMkLst>
            <pc:docMk/>
            <pc:sldMk cId="654391092" sldId="359"/>
            <ac:spMk id="8" creationId="{00000000-0000-0000-0000-000000000000}"/>
          </ac:spMkLst>
        </pc:spChg>
      </pc:sldChg>
      <pc:sldChg chg="addSp delSp modSp add mod">
        <pc:chgData name="Serkan Susantez" userId="9d7d81f3-9146-4745-8c3c-a24ffadc3610" providerId="ADAL" clId="{D7D37EC6-E308-4A7D-AD09-5762348ED0D5}" dt="2020-08-24T14:14:25.141" v="795" actId="478"/>
        <pc:sldMkLst>
          <pc:docMk/>
          <pc:sldMk cId="1303050594" sldId="360"/>
        </pc:sldMkLst>
        <pc:spChg chg="add del mod">
          <ac:chgData name="Serkan Susantez" userId="9d7d81f3-9146-4745-8c3c-a24ffadc3610" providerId="ADAL" clId="{D7D37EC6-E308-4A7D-AD09-5762348ED0D5}" dt="2020-08-24T14:14:24.765" v="794" actId="478"/>
          <ac:spMkLst>
            <pc:docMk/>
            <pc:sldMk cId="1303050594" sldId="360"/>
            <ac:spMk id="2" creationId="{41DCE188-53D3-4B66-8EE3-016ED92CE95C}"/>
          </ac:spMkLst>
        </pc:spChg>
        <pc:spChg chg="add del mod">
          <ac:chgData name="Serkan Susantez" userId="9d7d81f3-9146-4745-8c3c-a24ffadc3610" providerId="ADAL" clId="{D7D37EC6-E308-4A7D-AD09-5762348ED0D5}" dt="2020-08-24T14:14:25.141" v="795" actId="478"/>
          <ac:spMkLst>
            <pc:docMk/>
            <pc:sldMk cId="1303050594" sldId="360"/>
            <ac:spMk id="3" creationId="{B697433F-BA58-4D75-B264-2602452AEE3E}"/>
          </ac:spMkLst>
        </pc:spChg>
        <pc:spChg chg="del">
          <ac:chgData name="Serkan Susantez" userId="9d7d81f3-9146-4745-8c3c-a24ffadc3610" providerId="ADAL" clId="{D7D37EC6-E308-4A7D-AD09-5762348ED0D5}" dt="2020-08-24T14:00:32.533" v="671" actId="478"/>
          <ac:spMkLst>
            <pc:docMk/>
            <pc:sldMk cId="1303050594" sldId="360"/>
            <ac:spMk id="4" creationId="{F5AA293F-8089-42AE-AF30-5EF161FF71F3}"/>
          </ac:spMkLst>
        </pc:spChg>
        <pc:spChg chg="mod">
          <ac:chgData name="Serkan Susantez" userId="9d7d81f3-9146-4745-8c3c-a24ffadc3610" providerId="ADAL" clId="{D7D37EC6-E308-4A7D-AD09-5762348ED0D5}" dt="2020-08-24T14:00:20.059" v="669"/>
          <ac:spMkLst>
            <pc:docMk/>
            <pc:sldMk cId="1303050594" sldId="360"/>
            <ac:spMk id="8" creationId="{00000000-0000-0000-0000-000000000000}"/>
          </ac:spMkLst>
        </pc:spChg>
      </pc:sldChg>
      <pc:sldChg chg="add del">
        <pc:chgData name="Serkan Susantez" userId="9d7d81f3-9146-4745-8c3c-a24ffadc3610" providerId="ADAL" clId="{D7D37EC6-E308-4A7D-AD09-5762348ED0D5}" dt="2020-08-24T14:00:59.059" v="676" actId="47"/>
        <pc:sldMkLst>
          <pc:docMk/>
          <pc:sldMk cId="1325953165" sldId="361"/>
        </pc:sldMkLst>
      </pc:sldChg>
      <pc:sldChg chg="modSp add del mod">
        <pc:chgData name="Serkan Susantez" userId="9d7d81f3-9146-4745-8c3c-a24ffadc3610" providerId="ADAL" clId="{D7D37EC6-E308-4A7D-AD09-5762348ED0D5}" dt="2020-08-24T14:14:38.640" v="798" actId="47"/>
        <pc:sldMkLst>
          <pc:docMk/>
          <pc:sldMk cId="1376925103" sldId="361"/>
        </pc:sldMkLst>
        <pc:spChg chg="mod">
          <ac:chgData name="Serkan Susantez" userId="9d7d81f3-9146-4745-8c3c-a24ffadc3610" providerId="ADAL" clId="{D7D37EC6-E308-4A7D-AD09-5762348ED0D5}" dt="2020-08-24T14:14:26.308" v="796"/>
          <ac:spMkLst>
            <pc:docMk/>
            <pc:sldMk cId="1376925103" sldId="361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4T14:01:27.429" v="681"/>
          <ac:spMkLst>
            <pc:docMk/>
            <pc:sldMk cId="1376925103" sldId="361"/>
            <ac:spMk id="3" creationId="{B697433F-BA58-4D75-B264-2602452AEE3E}"/>
          </ac:spMkLst>
        </pc:spChg>
        <pc:spChg chg="mod">
          <ac:chgData name="Serkan Susantez" userId="9d7d81f3-9146-4745-8c3c-a24ffadc3610" providerId="ADAL" clId="{D7D37EC6-E308-4A7D-AD09-5762348ED0D5}" dt="2020-08-24T14:14:30.890" v="797"/>
          <ac:spMkLst>
            <pc:docMk/>
            <pc:sldMk cId="1376925103" sldId="361"/>
            <ac:spMk id="8" creationId="{00000000-0000-0000-0000-000000000000}"/>
          </ac:spMkLst>
        </pc:spChg>
      </pc:sldChg>
      <pc:sldChg chg="add">
        <pc:chgData name="Serkan Susantez" userId="9d7d81f3-9146-4745-8c3c-a24ffadc3610" providerId="ADAL" clId="{D7D37EC6-E308-4A7D-AD09-5762348ED0D5}" dt="2020-08-24T14:01:37.969" v="682"/>
        <pc:sldMkLst>
          <pc:docMk/>
          <pc:sldMk cId="120743835" sldId="362"/>
        </pc:sldMkLst>
      </pc:sldChg>
      <pc:sldChg chg="addSp delSp modSp add mod">
        <pc:chgData name="Serkan Susantez" userId="9d7d81f3-9146-4745-8c3c-a24ffadc3610" providerId="ADAL" clId="{D7D37EC6-E308-4A7D-AD09-5762348ED0D5}" dt="2020-08-26T06:49:18.212" v="1229" actId="20577"/>
        <pc:sldMkLst>
          <pc:docMk/>
          <pc:sldMk cId="3824466758" sldId="363"/>
        </pc:sldMkLst>
        <pc:spChg chg="mod">
          <ac:chgData name="Serkan Susantez" userId="9d7d81f3-9146-4745-8c3c-a24ffadc3610" providerId="ADAL" clId="{D7D37EC6-E308-4A7D-AD09-5762348ED0D5}" dt="2020-08-24T14:06:44.046" v="786" actId="1076"/>
          <ac:spMkLst>
            <pc:docMk/>
            <pc:sldMk cId="3824466758" sldId="363"/>
            <ac:spMk id="2" creationId="{41DCE188-53D3-4B66-8EE3-016ED92CE95C}"/>
          </ac:spMkLst>
        </pc:spChg>
        <pc:spChg chg="mod">
          <ac:chgData name="Serkan Susantez" userId="9d7d81f3-9146-4745-8c3c-a24ffadc3610" providerId="ADAL" clId="{D7D37EC6-E308-4A7D-AD09-5762348ED0D5}" dt="2020-08-26T06:48:57.433" v="1217" actId="20577"/>
          <ac:spMkLst>
            <pc:docMk/>
            <pc:sldMk cId="3824466758" sldId="363"/>
            <ac:spMk id="3" creationId="{B697433F-BA58-4D75-B264-2602452AEE3E}"/>
          </ac:spMkLst>
        </pc:spChg>
        <pc:spChg chg="add mod">
          <ac:chgData name="Serkan Susantez" userId="9d7d81f3-9146-4745-8c3c-a24ffadc3610" providerId="ADAL" clId="{D7D37EC6-E308-4A7D-AD09-5762348ED0D5}" dt="2020-08-26T06:49:18.212" v="1229" actId="20577"/>
          <ac:spMkLst>
            <pc:docMk/>
            <pc:sldMk cId="3824466758" sldId="363"/>
            <ac:spMk id="4" creationId="{0A4156EB-E681-4DC9-B1E1-71F8046422BE}"/>
          </ac:spMkLst>
        </pc:spChg>
        <pc:spChg chg="mod">
          <ac:chgData name="Serkan Susantez" userId="9d7d81f3-9146-4745-8c3c-a24ffadc3610" providerId="ADAL" clId="{D7D37EC6-E308-4A7D-AD09-5762348ED0D5}" dt="2020-08-24T14:02:34.783" v="684"/>
          <ac:spMkLst>
            <pc:docMk/>
            <pc:sldMk cId="3824466758" sldId="363"/>
            <ac:spMk id="8" creationId="{00000000-0000-0000-0000-000000000000}"/>
          </ac:spMkLst>
        </pc:spChg>
        <pc:spChg chg="add mod">
          <ac:chgData name="Serkan Susantez" userId="9d7d81f3-9146-4745-8c3c-a24ffadc3610" providerId="ADAL" clId="{D7D37EC6-E308-4A7D-AD09-5762348ED0D5}" dt="2020-08-24T14:05:54.835" v="767" actId="14100"/>
          <ac:spMkLst>
            <pc:docMk/>
            <pc:sldMk cId="3824466758" sldId="363"/>
            <ac:spMk id="13" creationId="{2F463712-B2EE-4A69-A357-F1A8F3AE42EC}"/>
          </ac:spMkLst>
        </pc:spChg>
        <pc:spChg chg="add mod">
          <ac:chgData name="Serkan Susantez" userId="9d7d81f3-9146-4745-8c3c-a24ffadc3610" providerId="ADAL" clId="{D7D37EC6-E308-4A7D-AD09-5762348ED0D5}" dt="2020-08-24T14:05:57.229" v="768" actId="14100"/>
          <ac:spMkLst>
            <pc:docMk/>
            <pc:sldMk cId="3824466758" sldId="363"/>
            <ac:spMk id="14" creationId="{BE608BFA-C3B3-4C1D-A8EF-6BF0EF209403}"/>
          </ac:spMkLst>
        </pc:spChg>
        <pc:cxnChg chg="add del">
          <ac:chgData name="Serkan Susantez" userId="9d7d81f3-9146-4745-8c3c-a24ffadc3610" providerId="ADAL" clId="{D7D37EC6-E308-4A7D-AD09-5762348ED0D5}" dt="2020-08-24T14:06:44.497" v="787" actId="478"/>
          <ac:cxnSpMkLst>
            <pc:docMk/>
            <pc:sldMk cId="3824466758" sldId="363"/>
            <ac:cxnSpMk id="9" creationId="{2F393F44-1C5A-4EE9-8E64-75F748119AE8}"/>
          </ac:cxnSpMkLst>
        </pc:cxnChg>
        <pc:cxnChg chg="add mod">
          <ac:chgData name="Serkan Susantez" userId="9d7d81f3-9146-4745-8c3c-a24ffadc3610" providerId="ADAL" clId="{D7D37EC6-E308-4A7D-AD09-5762348ED0D5}" dt="2020-08-24T14:05:35.997" v="763" actId="14100"/>
          <ac:cxnSpMkLst>
            <pc:docMk/>
            <pc:sldMk cId="3824466758" sldId="363"/>
            <ac:cxnSpMk id="15" creationId="{DC9379F1-3962-4515-BCD1-1256ACD1AB7A}"/>
          </ac:cxnSpMkLst>
        </pc:cxnChg>
        <pc:cxnChg chg="add mod">
          <ac:chgData name="Serkan Susantez" userId="9d7d81f3-9146-4745-8c3c-a24ffadc3610" providerId="ADAL" clId="{D7D37EC6-E308-4A7D-AD09-5762348ED0D5}" dt="2020-08-24T14:05:35.997" v="763" actId="14100"/>
          <ac:cxnSpMkLst>
            <pc:docMk/>
            <pc:sldMk cId="3824466758" sldId="363"/>
            <ac:cxnSpMk id="16" creationId="{6AEA0818-DAE5-45DC-861E-D0D2FC837CCE}"/>
          </ac:cxnSpMkLst>
        </pc:cxnChg>
        <pc:cxnChg chg="add del mod">
          <ac:chgData name="Serkan Susantez" userId="9d7d81f3-9146-4745-8c3c-a24ffadc3610" providerId="ADAL" clId="{D7D37EC6-E308-4A7D-AD09-5762348ED0D5}" dt="2020-08-24T14:06:21.671" v="783" actId="478"/>
          <ac:cxnSpMkLst>
            <pc:docMk/>
            <pc:sldMk cId="3824466758" sldId="363"/>
            <ac:cxnSpMk id="17" creationId="{85C3C9CA-D54D-43DE-987F-24CB38EFF271}"/>
          </ac:cxnSpMkLst>
        </pc:cxnChg>
      </pc:sldChg>
      <pc:sldChg chg="addSp delSp modSp add mod modAnim">
        <pc:chgData name="Serkan Susantez" userId="9d7d81f3-9146-4745-8c3c-a24ffadc3610" providerId="ADAL" clId="{D7D37EC6-E308-4A7D-AD09-5762348ED0D5}" dt="2020-08-24T14:45:54.891" v="1196"/>
        <pc:sldMkLst>
          <pc:docMk/>
          <pc:sldMk cId="2621304745" sldId="364"/>
        </pc:sldMkLst>
        <pc:spChg chg="del">
          <ac:chgData name="Serkan Susantez" userId="9d7d81f3-9146-4745-8c3c-a24ffadc3610" providerId="ADAL" clId="{D7D37EC6-E308-4A7D-AD09-5762348ED0D5}" dt="2020-08-24T14:14:43.759" v="801" actId="478"/>
          <ac:spMkLst>
            <pc:docMk/>
            <pc:sldMk cId="2621304745" sldId="364"/>
            <ac:spMk id="2" creationId="{41DCE188-53D3-4B66-8EE3-016ED92CE95C}"/>
          </ac:spMkLst>
        </pc:spChg>
        <pc:spChg chg="del">
          <ac:chgData name="Serkan Susantez" userId="9d7d81f3-9146-4745-8c3c-a24ffadc3610" providerId="ADAL" clId="{D7D37EC6-E308-4A7D-AD09-5762348ED0D5}" dt="2020-08-24T14:14:42.635" v="800" actId="478"/>
          <ac:spMkLst>
            <pc:docMk/>
            <pc:sldMk cId="2621304745" sldId="364"/>
            <ac:spMk id="3" creationId="{B697433F-BA58-4D75-B264-2602452AEE3E}"/>
          </ac:spMkLst>
        </pc:spChg>
        <pc:spChg chg="add mod topLvl">
          <ac:chgData name="Serkan Susantez" userId="9d7d81f3-9146-4745-8c3c-a24ffadc3610" providerId="ADAL" clId="{D7D37EC6-E308-4A7D-AD09-5762348ED0D5}" dt="2020-08-24T14:31:15.545" v="955" actId="164"/>
          <ac:spMkLst>
            <pc:docMk/>
            <pc:sldMk cId="2621304745" sldId="364"/>
            <ac:spMk id="4" creationId="{C0FAA948-F60E-4059-B7FD-871876D81751}"/>
          </ac:spMkLst>
        </pc:spChg>
        <pc:spChg chg="add del mod topLvl">
          <ac:chgData name="Serkan Susantez" userId="9d7d81f3-9146-4745-8c3c-a24ffadc3610" providerId="ADAL" clId="{D7D37EC6-E308-4A7D-AD09-5762348ED0D5}" dt="2020-08-24T14:23:27.870" v="845" actId="478"/>
          <ac:spMkLst>
            <pc:docMk/>
            <pc:sldMk cId="2621304745" sldId="364"/>
            <ac:spMk id="5" creationId="{7A5FB770-777D-4AD4-81F1-1B572F2DE285}"/>
          </ac:spMkLst>
        </pc:spChg>
        <pc:spChg chg="add mod ord">
          <ac:chgData name="Serkan Susantez" userId="9d7d81f3-9146-4745-8c3c-a24ffadc3610" providerId="ADAL" clId="{D7D37EC6-E308-4A7D-AD09-5762348ED0D5}" dt="2020-08-24T14:31:39.768" v="978" actId="164"/>
          <ac:spMkLst>
            <pc:docMk/>
            <pc:sldMk cId="2621304745" sldId="364"/>
            <ac:spMk id="7" creationId="{EA3076BB-F634-42EA-984C-52601BA4CC67}"/>
          </ac:spMkLst>
        </pc:spChg>
        <pc:spChg chg="mod">
          <ac:chgData name="Serkan Susantez" userId="9d7d81f3-9146-4745-8c3c-a24ffadc3610" providerId="ADAL" clId="{D7D37EC6-E308-4A7D-AD09-5762348ED0D5}" dt="2020-08-24T14:18:29.452" v="840" actId="20577"/>
          <ac:spMkLst>
            <pc:docMk/>
            <pc:sldMk cId="2621304745" sldId="364"/>
            <ac:spMk id="8" creationId="{00000000-0000-0000-0000-000000000000}"/>
          </ac:spMkLst>
        </pc:spChg>
        <pc:spChg chg="add mod">
          <ac:chgData name="Serkan Susantez" userId="9d7d81f3-9146-4745-8c3c-a24ffadc3610" providerId="ADAL" clId="{D7D37EC6-E308-4A7D-AD09-5762348ED0D5}" dt="2020-08-24T14:43:46.527" v="1176" actId="20577"/>
          <ac:spMkLst>
            <pc:docMk/>
            <pc:sldMk cId="2621304745" sldId="364"/>
            <ac:spMk id="14" creationId="{3BFDE7AF-81B7-46AF-923A-1751EC5FB09F}"/>
          </ac:spMkLst>
        </pc:spChg>
        <pc:spChg chg="add mod">
          <ac:chgData name="Serkan Susantez" userId="9d7d81f3-9146-4745-8c3c-a24ffadc3610" providerId="ADAL" clId="{D7D37EC6-E308-4A7D-AD09-5762348ED0D5}" dt="2020-08-24T14:31:15.545" v="955" actId="164"/>
          <ac:spMkLst>
            <pc:docMk/>
            <pc:sldMk cId="2621304745" sldId="364"/>
            <ac:spMk id="15" creationId="{4106FA1E-D230-48B8-81A1-284BD0E36C73}"/>
          </ac:spMkLst>
        </pc:spChg>
        <pc:spChg chg="mod topLvl">
          <ac:chgData name="Serkan Susantez" userId="9d7d81f3-9146-4745-8c3c-a24ffadc3610" providerId="ADAL" clId="{D7D37EC6-E308-4A7D-AD09-5762348ED0D5}" dt="2020-08-24T14:34:37.994" v="1136" actId="164"/>
          <ac:spMkLst>
            <pc:docMk/>
            <pc:sldMk cId="2621304745" sldId="364"/>
            <ac:spMk id="20" creationId="{41BF2D41-E5FC-4B1A-84B5-2E62EF931256}"/>
          </ac:spMkLst>
        </pc:spChg>
        <pc:spChg chg="mod">
          <ac:chgData name="Serkan Susantez" userId="9d7d81f3-9146-4745-8c3c-a24ffadc3610" providerId="ADAL" clId="{D7D37EC6-E308-4A7D-AD09-5762348ED0D5}" dt="2020-08-24T14:32:39.469" v="1087" actId="313"/>
          <ac:spMkLst>
            <pc:docMk/>
            <pc:sldMk cId="2621304745" sldId="364"/>
            <ac:spMk id="22" creationId="{5CA4E1E7-1EB2-42BE-A4BD-EDBADD3EBDF9}"/>
          </ac:spMkLst>
        </pc:spChg>
        <pc:spChg chg="mod">
          <ac:chgData name="Serkan Susantez" userId="9d7d81f3-9146-4745-8c3c-a24ffadc3610" providerId="ADAL" clId="{D7D37EC6-E308-4A7D-AD09-5762348ED0D5}" dt="2020-08-24T14:32:28.254" v="1083" actId="165"/>
          <ac:spMkLst>
            <pc:docMk/>
            <pc:sldMk cId="2621304745" sldId="364"/>
            <ac:spMk id="23" creationId="{74BBF33A-C09A-494E-BC1C-1F0BF87FE07D}"/>
          </ac:spMkLst>
        </pc:spChg>
        <pc:spChg chg="del mod">
          <ac:chgData name="Serkan Susantez" userId="9d7d81f3-9146-4745-8c3c-a24ffadc3610" providerId="ADAL" clId="{D7D37EC6-E308-4A7D-AD09-5762348ED0D5}" dt="2020-08-24T14:32:23.866" v="1082" actId="478"/>
          <ac:spMkLst>
            <pc:docMk/>
            <pc:sldMk cId="2621304745" sldId="364"/>
            <ac:spMk id="24" creationId="{BB307D4E-8C36-4B75-B6EB-DE60B1FD7361}"/>
          </ac:spMkLst>
        </pc:spChg>
        <pc:spChg chg="add mod">
          <ac:chgData name="Serkan Susantez" userId="9d7d81f3-9146-4745-8c3c-a24ffadc3610" providerId="ADAL" clId="{D7D37EC6-E308-4A7D-AD09-5762348ED0D5}" dt="2020-08-24T14:34:37.994" v="1136" actId="164"/>
          <ac:spMkLst>
            <pc:docMk/>
            <pc:sldMk cId="2621304745" sldId="364"/>
            <ac:spMk id="26" creationId="{DC4C6F4F-98AB-409E-ABE0-CFBEE974088D}"/>
          </ac:spMkLst>
        </pc:spChg>
        <pc:spChg chg="add mod">
          <ac:chgData name="Serkan Susantez" userId="9d7d81f3-9146-4745-8c3c-a24ffadc3610" providerId="ADAL" clId="{D7D37EC6-E308-4A7D-AD09-5762348ED0D5}" dt="2020-08-24T14:34:37.994" v="1136" actId="164"/>
          <ac:spMkLst>
            <pc:docMk/>
            <pc:sldMk cId="2621304745" sldId="364"/>
            <ac:spMk id="27" creationId="{4AFAA18C-9893-42CC-AA51-886CB0A30E7B}"/>
          </ac:spMkLst>
        </pc:spChg>
        <pc:spChg chg="add mod">
          <ac:chgData name="Serkan Susantez" userId="9d7d81f3-9146-4745-8c3c-a24ffadc3610" providerId="ADAL" clId="{D7D37EC6-E308-4A7D-AD09-5762348ED0D5}" dt="2020-08-24T14:34:37.994" v="1136" actId="164"/>
          <ac:spMkLst>
            <pc:docMk/>
            <pc:sldMk cId="2621304745" sldId="364"/>
            <ac:spMk id="28" creationId="{F974D890-F2B0-485D-B715-4FE0D98B860D}"/>
          </ac:spMkLst>
        </pc:spChg>
        <pc:grpChg chg="add del mod">
          <ac:chgData name="Serkan Susantez" userId="9d7d81f3-9146-4745-8c3c-a24ffadc3610" providerId="ADAL" clId="{D7D37EC6-E308-4A7D-AD09-5762348ED0D5}" dt="2020-08-24T14:23:25.431" v="844" actId="165"/>
          <ac:grpSpMkLst>
            <pc:docMk/>
            <pc:sldMk cId="2621304745" sldId="364"/>
            <ac:grpSpMk id="6" creationId="{A5711391-31EC-4916-B6A2-841CD758D018}"/>
          </ac:grpSpMkLst>
        </pc:grpChg>
        <pc:grpChg chg="add mod">
          <ac:chgData name="Serkan Susantez" userId="9d7d81f3-9146-4745-8c3c-a24ffadc3610" providerId="ADAL" clId="{D7D37EC6-E308-4A7D-AD09-5762348ED0D5}" dt="2020-08-24T14:31:39.768" v="978" actId="164"/>
          <ac:grpSpMkLst>
            <pc:docMk/>
            <pc:sldMk cId="2621304745" sldId="364"/>
            <ac:grpSpMk id="17" creationId="{E1625F81-D940-44AD-84DA-E108CEDBE257}"/>
          </ac:grpSpMkLst>
        </pc:grpChg>
        <pc:grpChg chg="add mod">
          <ac:chgData name="Serkan Susantez" userId="9d7d81f3-9146-4745-8c3c-a24ffadc3610" providerId="ADAL" clId="{D7D37EC6-E308-4A7D-AD09-5762348ED0D5}" dt="2020-08-24T14:34:37.994" v="1136" actId="164"/>
          <ac:grpSpMkLst>
            <pc:docMk/>
            <pc:sldMk cId="2621304745" sldId="364"/>
            <ac:grpSpMk id="18" creationId="{43F0A879-C414-429E-B6C7-C435DA0D0E7A}"/>
          </ac:grpSpMkLst>
        </pc:grpChg>
        <pc:grpChg chg="add del mod">
          <ac:chgData name="Serkan Susantez" userId="9d7d81f3-9146-4745-8c3c-a24ffadc3610" providerId="ADAL" clId="{D7D37EC6-E308-4A7D-AD09-5762348ED0D5}" dt="2020-08-24T14:32:28.254" v="1083" actId="165"/>
          <ac:grpSpMkLst>
            <pc:docMk/>
            <pc:sldMk cId="2621304745" sldId="364"/>
            <ac:grpSpMk id="19" creationId="{568C7241-6468-4EE9-804A-DAC23FFF8EDD}"/>
          </ac:grpSpMkLst>
        </pc:grpChg>
        <pc:grpChg chg="mod topLvl">
          <ac:chgData name="Serkan Susantez" userId="9d7d81f3-9146-4745-8c3c-a24ffadc3610" providerId="ADAL" clId="{D7D37EC6-E308-4A7D-AD09-5762348ED0D5}" dt="2020-08-24T14:34:37.994" v="1136" actId="164"/>
          <ac:grpSpMkLst>
            <pc:docMk/>
            <pc:sldMk cId="2621304745" sldId="364"/>
            <ac:grpSpMk id="21" creationId="{A7ACA008-57BB-42D0-BE11-3397FDC9148D}"/>
          </ac:grpSpMkLst>
        </pc:grpChg>
        <pc:grpChg chg="add mod">
          <ac:chgData name="Serkan Susantez" userId="9d7d81f3-9146-4745-8c3c-a24ffadc3610" providerId="ADAL" clId="{D7D37EC6-E308-4A7D-AD09-5762348ED0D5}" dt="2020-08-24T14:34:43.204" v="1137" actId="1076"/>
          <ac:grpSpMkLst>
            <pc:docMk/>
            <pc:sldMk cId="2621304745" sldId="364"/>
            <ac:grpSpMk id="29" creationId="{F5CA0ED1-1308-4C01-9D92-FEA91E17B764}"/>
          </ac:grpSpMkLst>
        </pc:grpChg>
        <pc:picChg chg="add mod">
          <ac:chgData name="Serkan Susantez" userId="9d7d81f3-9146-4745-8c3c-a24ffadc3610" providerId="ADAL" clId="{D7D37EC6-E308-4A7D-AD09-5762348ED0D5}" dt="2020-08-24T14:45:01.222" v="1187" actId="1076"/>
          <ac:picMkLst>
            <pc:docMk/>
            <pc:sldMk cId="2621304745" sldId="364"/>
            <ac:picMk id="32" creationId="{BEECFED2-5954-42B2-A44F-A4413E1823A2}"/>
          </ac:picMkLst>
        </pc:picChg>
        <pc:picChg chg="add del mod">
          <ac:chgData name="Serkan Susantez" userId="9d7d81f3-9146-4745-8c3c-a24ffadc3610" providerId="ADAL" clId="{D7D37EC6-E308-4A7D-AD09-5762348ED0D5}" dt="2020-08-24T14:42:43.060" v="1154" actId="478"/>
          <ac:picMkLst>
            <pc:docMk/>
            <pc:sldMk cId="2621304745" sldId="364"/>
            <ac:picMk id="35" creationId="{D205B533-1990-4781-9769-8FEF98A35137}"/>
          </ac:picMkLst>
        </pc:picChg>
        <pc:picChg chg="add del mod">
          <ac:chgData name="Serkan Susantez" userId="9d7d81f3-9146-4745-8c3c-a24ffadc3610" providerId="ADAL" clId="{D7D37EC6-E308-4A7D-AD09-5762348ED0D5}" dt="2020-08-24T14:42:43.618" v="1155" actId="478"/>
          <ac:picMkLst>
            <pc:docMk/>
            <pc:sldMk cId="2621304745" sldId="364"/>
            <ac:picMk id="38" creationId="{9AF53A44-4E7F-41BA-9FBA-D1897B520E64}"/>
          </ac:picMkLst>
        </pc:picChg>
        <pc:picChg chg="add del mod">
          <ac:chgData name="Serkan Susantez" userId="9d7d81f3-9146-4745-8c3c-a24ffadc3610" providerId="ADAL" clId="{D7D37EC6-E308-4A7D-AD09-5762348ED0D5}" dt="2020-08-24T14:45:03.240" v="1188" actId="478"/>
          <ac:picMkLst>
            <pc:docMk/>
            <pc:sldMk cId="2621304745" sldId="364"/>
            <ac:picMk id="41" creationId="{5445423A-8F62-48FF-8452-F8F6854285BB}"/>
          </ac:picMkLst>
        </pc:picChg>
        <pc:picChg chg="add mod">
          <ac:chgData name="Serkan Susantez" userId="9d7d81f3-9146-4745-8c3c-a24ffadc3610" providerId="ADAL" clId="{D7D37EC6-E308-4A7D-AD09-5762348ED0D5}" dt="2020-08-24T14:39:58.788" v="1151" actId="1076"/>
          <ac:picMkLst>
            <pc:docMk/>
            <pc:sldMk cId="2621304745" sldId="364"/>
            <ac:picMk id="42" creationId="{C134A382-32E5-4BBD-BE85-6CCD3B2F3784}"/>
          </ac:picMkLst>
        </pc:picChg>
        <pc:picChg chg="add mod">
          <ac:chgData name="Serkan Susantez" userId="9d7d81f3-9146-4745-8c3c-a24ffadc3610" providerId="ADAL" clId="{D7D37EC6-E308-4A7D-AD09-5762348ED0D5}" dt="2020-08-24T14:44:56.472" v="1186" actId="1076"/>
          <ac:picMkLst>
            <pc:docMk/>
            <pc:sldMk cId="2621304745" sldId="364"/>
            <ac:picMk id="44" creationId="{A104F5A6-E100-4F31-B6DA-CF56A1681A9E}"/>
          </ac:picMkLst>
        </pc:picChg>
        <pc:picChg chg="add mod">
          <ac:chgData name="Serkan Susantez" userId="9d7d81f3-9146-4745-8c3c-a24ffadc3610" providerId="ADAL" clId="{D7D37EC6-E308-4A7D-AD09-5762348ED0D5}" dt="2020-08-24T14:44:42.525" v="1183" actId="1038"/>
          <ac:picMkLst>
            <pc:docMk/>
            <pc:sldMk cId="2621304745" sldId="364"/>
            <ac:picMk id="46" creationId="{0EC86372-4A87-4764-8E5C-84B4E47754EF}"/>
          </ac:picMkLst>
        </pc:picChg>
        <pc:picChg chg="add mod">
          <ac:chgData name="Serkan Susantez" userId="9d7d81f3-9146-4745-8c3c-a24ffadc3610" providerId="ADAL" clId="{D7D37EC6-E308-4A7D-AD09-5762348ED0D5}" dt="2020-08-24T14:44:47.565" v="1184" actId="1076"/>
          <ac:picMkLst>
            <pc:docMk/>
            <pc:sldMk cId="2621304745" sldId="364"/>
            <ac:picMk id="47" creationId="{E03E30DF-E11A-48C9-B9CB-8B624667B313}"/>
          </ac:picMkLst>
        </pc:picChg>
        <pc:picChg chg="add del mod">
          <ac:chgData name="Serkan Susantez" userId="9d7d81f3-9146-4745-8c3c-a24ffadc3610" providerId="ADAL" clId="{D7D37EC6-E308-4A7D-AD09-5762348ED0D5}" dt="2020-08-24T14:43:37.136" v="1162" actId="478"/>
          <ac:picMkLst>
            <pc:docMk/>
            <pc:sldMk cId="2621304745" sldId="364"/>
            <ac:picMk id="48" creationId="{2490649B-0323-4EC6-A008-DD3125E027B4}"/>
          </ac:picMkLst>
        </pc:picChg>
        <pc:picChg chg="add mod">
          <ac:chgData name="Serkan Susantez" userId="9d7d81f3-9146-4745-8c3c-a24ffadc3610" providerId="ADAL" clId="{D7D37EC6-E308-4A7D-AD09-5762348ED0D5}" dt="2020-08-24T14:39:35.215" v="1148" actId="1076"/>
          <ac:picMkLst>
            <pc:docMk/>
            <pc:sldMk cId="2621304745" sldId="364"/>
            <ac:picMk id="1026" creationId="{4C4008F6-24AD-4965-9512-B8811914747E}"/>
          </ac:picMkLst>
        </pc:picChg>
        <pc:picChg chg="add mod">
          <ac:chgData name="Serkan Susantez" userId="9d7d81f3-9146-4745-8c3c-a24ffadc3610" providerId="ADAL" clId="{D7D37EC6-E308-4A7D-AD09-5762348ED0D5}" dt="2020-08-24T14:44:51.645" v="1185" actId="1076"/>
          <ac:picMkLst>
            <pc:docMk/>
            <pc:sldMk cId="2621304745" sldId="364"/>
            <ac:picMk id="1028" creationId="{FD246B9B-6396-4891-8007-902A184ACE18}"/>
          </ac:picMkLst>
        </pc:picChg>
      </pc:sldChg>
      <pc:sldMasterChg chg="addSldLayout delSldLayout modSldLayout">
        <pc:chgData name="Serkan Susantez" userId="9d7d81f3-9146-4745-8c3c-a24ffadc3610" providerId="ADAL" clId="{D7D37EC6-E308-4A7D-AD09-5762348ED0D5}" dt="2020-08-24T14:00:59.059" v="676" actId="47"/>
        <pc:sldMasterMkLst>
          <pc:docMk/>
          <pc:sldMasterMk cId="1868463010" sldId="2147483648"/>
        </pc:sldMasterMkLst>
        <pc:sldLayoutChg chg="del">
          <pc:chgData name="Serkan Susantez" userId="9d7d81f3-9146-4745-8c3c-a24ffadc3610" providerId="ADAL" clId="{D7D37EC6-E308-4A7D-AD09-5762348ED0D5}" dt="2020-08-24T13:00:24.184" v="346" actId="47"/>
          <pc:sldLayoutMkLst>
            <pc:docMk/>
            <pc:sldMasterMk cId="1868463010" sldId="2147483648"/>
            <pc:sldLayoutMk cId="896527845" sldId="2147483661"/>
          </pc:sldLayoutMkLst>
        </pc:sldLayoutChg>
        <pc:sldLayoutChg chg="del">
          <pc:chgData name="Serkan Susantez" userId="9d7d81f3-9146-4745-8c3c-a24ffadc3610" providerId="ADAL" clId="{D7D37EC6-E308-4A7D-AD09-5762348ED0D5}" dt="2020-08-24T14:00:59.059" v="676" actId="47"/>
          <pc:sldLayoutMkLst>
            <pc:docMk/>
            <pc:sldMasterMk cId="1868463010" sldId="2147483648"/>
            <pc:sldLayoutMk cId="2988954587" sldId="2147483661"/>
          </pc:sldLayoutMkLst>
        </pc:sldLayoutChg>
        <pc:sldLayoutChg chg="new del mod">
          <pc:chgData name="Serkan Susantez" userId="9d7d81f3-9146-4745-8c3c-a24ffadc3610" providerId="ADAL" clId="{D7D37EC6-E308-4A7D-AD09-5762348ED0D5}" dt="2020-08-24T13:41:13.259" v="460" actId="11236"/>
          <pc:sldLayoutMkLst>
            <pc:docMk/>
            <pc:sldMasterMk cId="1868463010" sldId="2147483648"/>
            <pc:sldLayoutMk cId="3804162126" sldId="214748366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7E6715-4409-144B-A41F-C9C7D202E036}" type="datetimeFigureOut">
              <a:t>11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4D67-EBD3-044B-B792-E8D4D3DF27F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332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FC4D67-EBD3-044B-B792-E8D4D3DF27F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3251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933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29035D-56DB-D0C6-09FE-6AE79850A4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E47920-B25B-B1D2-47DF-D6D668B4D2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51BF7C-6A9F-C0D4-0C61-6F714AA36D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ffectLst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 (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ısac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8s)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ştirilmiş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m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lmiş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nakl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tformdu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ımsız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ına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er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tyapıda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ımsız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bilmeler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ri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mes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ın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leştir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Op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çlerind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ız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nekl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ınabilirl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emlid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lar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rşılay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ı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c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ınabilmes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o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ıd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c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m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çlü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ç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ylec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vOp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kipl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tyap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in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limat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daklana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lebin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r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yileştir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tal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tirer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izmet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kliliğ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Ops’u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larında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syonu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tekle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ylec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la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zlene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ile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Op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kipl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ızl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zılımlar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a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eb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4052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535F1-9443-6670-80CE-7746B16A2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3945A7-CD2A-268B-DCC4-05C39F982E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5248CC-F582-DDA1-C9E1-4A312F03A7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ffectLst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lik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pektifin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acağ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ğrenme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ki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ırmalısın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dığ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l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eleyeceğ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de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vramların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i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acağ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ço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eyner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ece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uşacağ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cke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me’larıyl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ysan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sept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diğ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persistent volumes)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lep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persistent volume claims)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vram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eleyeceğ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-değ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ift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uların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neceğ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lar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i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s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er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cağ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8985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61A93-8E91-33AF-3FAB-F755A4F4AE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C2D3D9-FCE9-345B-505A-F831215CBF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109CB2-DBB1-4DEB-A54C-1B6E2F7F29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844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BCD25-C3F9-DE08-D41D-C8E5B778BA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831F65-02BF-B0D4-4777-AE88DB190D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35E454-E6E6-9516-CF18-81D21869F2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yel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y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load balancer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dunu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y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l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allaştırılm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ziks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iyo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lar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yo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r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ay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y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ınız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abilirs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kaç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ke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O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daha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ceks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zleyebilec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bilec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c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ınız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m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ço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ık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a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rinleştiri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eley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yel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i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niz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ocker Compos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ıyorsunu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nu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a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PI’le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yo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dın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tabanlar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di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bell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su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yo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eşen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ar. Peki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eceks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ocker Compos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kç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y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z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ay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y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et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r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r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Dock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pose’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et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bilir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sl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la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l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sarlanmamışt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et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mem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ke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yileştir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rmaşı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u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sinim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ocker Compos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ter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yley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mız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aketleyi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ste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ırakabils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z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ıy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Contain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ğraş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oru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mas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da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ki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t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ktalar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dırs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s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y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durm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yebils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ri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ıy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lerley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lümler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çekleştirebileceğimiz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"deployments" (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hsed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sayıcı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i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biriy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mas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y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çl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tyapıs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m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nu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enekl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yabilir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0375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97526-15E2-D22E-2CA7-8371DCDB2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35B658-CF82-AA90-4B5C-91A11A5554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44C7DB-8969-5DEB-5DD2-B77A1101A0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7805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kestr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f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zi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o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y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hang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gı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 zama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ma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ğ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zisye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zisyenler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talanı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f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s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ünürse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FC4D67-EBD3-044B-B792-E8D4D3DF27F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5794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07BBAC-D030-31BE-9DB8-16145333AE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1448F0-B4E6-4520-5313-881E6283B7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5DA60E-8185-E1A7-03C1-FBB15FEC92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130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7DBF3-C457-1273-275A-49685C4C5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E6A491-C880-6018-DD39-C7ED2945FB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526C80-A6AE-7C2A-3A3C-34BEA4F16C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tığ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tığım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na node (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ster no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an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perasyon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atro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"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"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diğim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orker node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ziks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a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odula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r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lust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h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788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36C022-586A-C609-2E06-A7DB3B6E58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45ADB9-CFFC-81E6-ADD5-3304C3C37E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9B107B-EEA0-C385-62D5-1718889E0E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Pod </a:t>
            </a:r>
            <a:r>
              <a:rPr lang="en-US" b="1" dirty="0" err="1"/>
              <a:t>Nedir</a:t>
            </a:r>
            <a:r>
              <a:rPr lang="en-US" b="1" dirty="0"/>
              <a:t>?</a:t>
            </a:r>
            <a:r>
              <a:rPr lang="en-US" dirty="0"/>
              <a:t>: Pod, Kubernetes </a:t>
            </a:r>
            <a:r>
              <a:rPr lang="en-US" dirty="0" err="1"/>
              <a:t>uygulamalarını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emel</a:t>
            </a:r>
            <a:r>
              <a:rPr lang="en-US" dirty="0"/>
              <a:t> </a:t>
            </a:r>
            <a:r>
              <a:rPr lang="en-US" dirty="0" err="1"/>
              <a:t>yürütme</a:t>
            </a:r>
            <a:r>
              <a:rPr lang="en-US" dirty="0"/>
              <a:t> </a:t>
            </a:r>
            <a:r>
              <a:rPr lang="en-US" dirty="0" err="1"/>
              <a:t>birimidir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Kubernetes </a:t>
            </a:r>
            <a:r>
              <a:rPr lang="en-US" dirty="0" err="1"/>
              <a:t>nesne</a:t>
            </a:r>
            <a:r>
              <a:rPr lang="en-US" dirty="0"/>
              <a:t> </a:t>
            </a:r>
            <a:r>
              <a:rPr lang="en-US" dirty="0" err="1"/>
              <a:t>modelinde</a:t>
            </a:r>
            <a:r>
              <a:rPr lang="en-US" dirty="0"/>
              <a:t> </a:t>
            </a:r>
            <a:r>
              <a:rPr lang="en-US" dirty="0" err="1"/>
              <a:t>oluşturduğunuz</a:t>
            </a:r>
            <a:r>
              <a:rPr lang="en-US" dirty="0"/>
              <a:t> </a:t>
            </a:r>
            <a:r>
              <a:rPr lang="en-US" dirty="0" err="1"/>
              <a:t>veya</a:t>
            </a:r>
            <a:r>
              <a:rPr lang="en-US" dirty="0"/>
              <a:t> </a:t>
            </a:r>
            <a:r>
              <a:rPr lang="en-US" dirty="0" err="1"/>
              <a:t>dağıttığınız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küçük</a:t>
            </a:r>
            <a:r>
              <a:rPr lang="en-US" dirty="0"/>
              <a:t> </a:t>
            </a:r>
            <a:r>
              <a:rPr lang="en-US" dirty="0" err="1"/>
              <a:t>birimdir</a:t>
            </a:r>
            <a:r>
              <a:rPr lang="en-US" dirty="0"/>
              <a:t>. </a:t>
            </a:r>
            <a:r>
              <a:rPr lang="en-US" dirty="0" err="1"/>
              <a:t>Kubernetes'i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Lego </a:t>
            </a:r>
            <a:r>
              <a:rPr lang="en-US" dirty="0" err="1"/>
              <a:t>yapısı</a:t>
            </a:r>
            <a:r>
              <a:rPr lang="en-US" dirty="0"/>
              <a:t> </a:t>
            </a:r>
            <a:r>
              <a:rPr lang="en-US" dirty="0" err="1"/>
              <a:t>gibi</a:t>
            </a:r>
            <a:r>
              <a:rPr lang="en-US" dirty="0"/>
              <a:t> </a:t>
            </a:r>
            <a:r>
              <a:rPr lang="en-US" dirty="0" err="1"/>
              <a:t>düşünürsek</a:t>
            </a:r>
            <a:r>
              <a:rPr lang="en-US" dirty="0"/>
              <a:t>, </a:t>
            </a:r>
            <a:r>
              <a:rPr lang="en-US" dirty="0" err="1"/>
              <a:t>temel</a:t>
            </a:r>
            <a:r>
              <a:rPr lang="en-US" dirty="0"/>
              <a:t> </a:t>
            </a:r>
            <a:r>
              <a:rPr lang="en-US" dirty="0" err="1"/>
              <a:t>yapı</a:t>
            </a:r>
            <a:r>
              <a:rPr lang="en-US" dirty="0"/>
              <a:t> </a:t>
            </a:r>
            <a:r>
              <a:rPr lang="en-US" dirty="0" err="1"/>
              <a:t>taşı</a:t>
            </a:r>
            <a:r>
              <a:rPr lang="en-US" dirty="0"/>
              <a:t> </a:t>
            </a:r>
            <a:r>
              <a:rPr lang="en-US" dirty="0" err="1"/>
              <a:t>Pod'lardır</a:t>
            </a:r>
            <a:r>
              <a:rPr lang="en-US" dirty="0"/>
              <a:t>. </a:t>
            </a:r>
            <a:r>
              <a:rPr lang="en-US" dirty="0" err="1"/>
              <a:t>Podlar</a:t>
            </a:r>
            <a:r>
              <a:rPr lang="en-US" dirty="0"/>
              <a:t> </a:t>
            </a:r>
            <a:r>
              <a:rPr lang="en-US" dirty="0" err="1"/>
              <a:t>container'ları</a:t>
            </a:r>
            <a:r>
              <a:rPr lang="en-US" dirty="0"/>
              <a:t> </a:t>
            </a:r>
            <a:r>
              <a:rPr lang="en-US" dirty="0" err="1"/>
              <a:t>çalıştırır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</a:t>
            </a:r>
            <a:r>
              <a:rPr lang="en-US" dirty="0" err="1"/>
              <a:t>Pod’da</a:t>
            </a:r>
            <a:r>
              <a:rPr lang="en-US" dirty="0"/>
              <a:t> </a:t>
            </a:r>
            <a:r>
              <a:rPr lang="en-US" dirty="0" err="1"/>
              <a:t>birden</a:t>
            </a:r>
            <a:r>
              <a:rPr lang="en-US" dirty="0"/>
              <a:t> </a:t>
            </a:r>
            <a:r>
              <a:rPr lang="en-US" dirty="0" err="1"/>
              <a:t>fazla</a:t>
            </a:r>
            <a:r>
              <a:rPr lang="en-US" dirty="0"/>
              <a:t> container </a:t>
            </a:r>
            <a:r>
              <a:rPr lang="en-US" dirty="0" err="1"/>
              <a:t>olabilir</a:t>
            </a:r>
            <a:r>
              <a:rPr lang="en-US" dirty="0"/>
              <a:t>.</a:t>
            </a:r>
          </a:p>
          <a:p>
            <a:r>
              <a:rPr lang="en-US" b="1" dirty="0"/>
              <a:t>Pod </a:t>
            </a:r>
            <a:r>
              <a:rPr lang="en-US" b="1" dirty="0" err="1"/>
              <a:t>ve</a:t>
            </a:r>
            <a:r>
              <a:rPr lang="en-US" b="1" dirty="0"/>
              <a:t> </a:t>
            </a:r>
            <a:r>
              <a:rPr lang="en-US" b="1" dirty="0" err="1"/>
              <a:t>Uygulama</a:t>
            </a:r>
            <a:r>
              <a:rPr lang="en-US" b="1" dirty="0"/>
              <a:t> </a:t>
            </a:r>
            <a:r>
              <a:rPr lang="en-US" b="1" dirty="0" err="1"/>
              <a:t>Parçaları</a:t>
            </a:r>
            <a:r>
              <a:rPr lang="en-US" dirty="0"/>
              <a:t>: </a:t>
            </a:r>
            <a:r>
              <a:rPr lang="en-US" dirty="0" err="1"/>
              <a:t>Pod’ları</a:t>
            </a:r>
            <a:r>
              <a:rPr lang="en-US" dirty="0"/>
              <a:t>, </a:t>
            </a:r>
            <a:r>
              <a:rPr lang="en-US" dirty="0" err="1"/>
              <a:t>uygulamanızın</a:t>
            </a:r>
            <a:r>
              <a:rPr lang="en-US" dirty="0"/>
              <a:t> </a:t>
            </a:r>
            <a:r>
              <a:rPr lang="en-US" dirty="0" err="1"/>
              <a:t>farklı</a:t>
            </a:r>
            <a:r>
              <a:rPr lang="en-US" dirty="0"/>
              <a:t> </a:t>
            </a:r>
            <a:r>
              <a:rPr lang="en-US" dirty="0" err="1"/>
              <a:t>parçalarını</a:t>
            </a:r>
            <a:r>
              <a:rPr lang="en-US" dirty="0"/>
              <a:t> organize </a:t>
            </a:r>
            <a:r>
              <a:rPr lang="en-US" dirty="0" err="1"/>
              <a:t>etme</a:t>
            </a:r>
            <a:r>
              <a:rPr lang="en-US" dirty="0"/>
              <a:t> </a:t>
            </a:r>
            <a:r>
              <a:rPr lang="en-US" dirty="0" err="1"/>
              <a:t>aracı</a:t>
            </a:r>
            <a:r>
              <a:rPr lang="en-US" dirty="0"/>
              <a:t> </a:t>
            </a:r>
            <a:r>
              <a:rPr lang="en-US" dirty="0" err="1"/>
              <a:t>olarak</a:t>
            </a:r>
            <a:r>
              <a:rPr lang="en-US" dirty="0"/>
              <a:t> </a:t>
            </a:r>
            <a:r>
              <a:rPr lang="en-US" dirty="0" err="1"/>
              <a:t>düşünebilirsiniz</a:t>
            </a:r>
            <a:r>
              <a:rPr lang="en-US" dirty="0"/>
              <a:t>. </a:t>
            </a:r>
            <a:r>
              <a:rPr lang="en-US" dirty="0" err="1"/>
              <a:t>Çoğunlukla</a:t>
            </a:r>
            <a:r>
              <a:rPr lang="en-US" dirty="0"/>
              <a:t> her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içinde</a:t>
            </a:r>
            <a:r>
              <a:rPr lang="en-US" dirty="0"/>
              <a:t> </a:t>
            </a:r>
            <a:r>
              <a:rPr lang="en-US" dirty="0" err="1"/>
              <a:t>tek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container </a:t>
            </a:r>
            <a:r>
              <a:rPr lang="en-US" dirty="0" err="1"/>
              <a:t>bulunur</a:t>
            </a:r>
            <a:r>
              <a:rPr lang="en-US" dirty="0"/>
              <a:t>. </a:t>
            </a:r>
            <a:r>
              <a:rPr lang="en-US" dirty="0" err="1"/>
              <a:t>Örneğin</a:t>
            </a:r>
            <a:r>
              <a:rPr lang="en-US" dirty="0"/>
              <a:t>, web </a:t>
            </a:r>
            <a:r>
              <a:rPr lang="en-US" dirty="0" err="1"/>
              <a:t>sunucusu</a:t>
            </a:r>
            <a:r>
              <a:rPr lang="en-US" dirty="0"/>
              <a:t>, </a:t>
            </a:r>
            <a:r>
              <a:rPr lang="en-US" dirty="0" err="1"/>
              <a:t>önbellek</a:t>
            </a:r>
            <a:r>
              <a:rPr lang="en-US" dirty="0"/>
              <a:t> </a:t>
            </a:r>
            <a:r>
              <a:rPr lang="en-US" dirty="0" err="1"/>
              <a:t>sunucusu</a:t>
            </a:r>
            <a:r>
              <a:rPr lang="en-US" dirty="0"/>
              <a:t> </a:t>
            </a:r>
            <a:r>
              <a:rPr lang="en-US" dirty="0" err="1"/>
              <a:t>veya</a:t>
            </a:r>
            <a:r>
              <a:rPr lang="en-US" dirty="0"/>
              <a:t> </a:t>
            </a:r>
            <a:r>
              <a:rPr lang="en-US" dirty="0" err="1"/>
              <a:t>API’lerin</a:t>
            </a:r>
            <a:r>
              <a:rPr lang="en-US" dirty="0"/>
              <a:t> her </a:t>
            </a:r>
            <a:r>
              <a:rPr lang="en-US" dirty="0" err="1"/>
              <a:t>birini</a:t>
            </a:r>
            <a:r>
              <a:rPr lang="en-US" dirty="0"/>
              <a:t> </a:t>
            </a:r>
            <a:r>
              <a:rPr lang="en-US" dirty="0" err="1"/>
              <a:t>ayrı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olarak</a:t>
            </a:r>
            <a:r>
              <a:rPr lang="en-US" dirty="0"/>
              <a:t> </a:t>
            </a:r>
            <a:r>
              <a:rPr lang="en-US" dirty="0" err="1"/>
              <a:t>planlamak</a:t>
            </a:r>
            <a:r>
              <a:rPr lang="en-US" dirty="0"/>
              <a:t> </a:t>
            </a:r>
            <a:r>
              <a:rPr lang="en-US" dirty="0" err="1"/>
              <a:t>önemlidir</a:t>
            </a:r>
            <a:r>
              <a:rPr lang="en-US" dirty="0"/>
              <a:t>.</a:t>
            </a:r>
          </a:p>
          <a:p>
            <a:r>
              <a:rPr lang="en-US" b="1" dirty="0" err="1"/>
              <a:t>Pod’un</a:t>
            </a:r>
            <a:r>
              <a:rPr lang="en-US" b="1" dirty="0"/>
              <a:t> </a:t>
            </a:r>
            <a:r>
              <a:rPr lang="en-US" b="1" dirty="0" err="1"/>
              <a:t>Özellikleri</a:t>
            </a:r>
            <a:r>
              <a:rPr lang="en-US" dirty="0"/>
              <a:t>: </a:t>
            </a:r>
            <a:r>
              <a:rPr lang="en-US" dirty="0" err="1"/>
              <a:t>Pod'ların</a:t>
            </a:r>
            <a:r>
              <a:rPr lang="en-US" dirty="0"/>
              <a:t> </a:t>
            </a:r>
            <a:r>
              <a:rPr lang="en-US" dirty="0" err="1"/>
              <a:t>kendi</a:t>
            </a:r>
            <a:r>
              <a:rPr lang="en-US" dirty="0"/>
              <a:t> IP </a:t>
            </a:r>
            <a:r>
              <a:rPr lang="en-US" dirty="0" err="1"/>
              <a:t>adresi</a:t>
            </a:r>
            <a:r>
              <a:rPr lang="en-US" dirty="0"/>
              <a:t>, </a:t>
            </a:r>
            <a:r>
              <a:rPr lang="en-US" dirty="0" err="1"/>
              <a:t>bellek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hacimleri</a:t>
            </a:r>
            <a:r>
              <a:rPr lang="en-US" dirty="0"/>
              <a:t> </a:t>
            </a:r>
            <a:r>
              <a:rPr lang="en-US" dirty="0" err="1"/>
              <a:t>vardır</a:t>
            </a:r>
            <a:r>
              <a:rPr lang="en-US" dirty="0"/>
              <a:t>. Bu </a:t>
            </a:r>
            <a:r>
              <a:rPr lang="en-US" dirty="0" err="1"/>
              <a:t>özellikler</a:t>
            </a:r>
            <a:r>
              <a:rPr lang="en-US" dirty="0"/>
              <a:t>,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içindeki</a:t>
            </a:r>
            <a:r>
              <a:rPr lang="en-US" dirty="0"/>
              <a:t> </a:t>
            </a:r>
            <a:r>
              <a:rPr lang="en-US" dirty="0" err="1"/>
              <a:t>birden</a:t>
            </a:r>
            <a:r>
              <a:rPr lang="en-US" dirty="0"/>
              <a:t> </a:t>
            </a:r>
            <a:r>
              <a:rPr lang="en-US" dirty="0" err="1"/>
              <a:t>fazla</a:t>
            </a:r>
            <a:r>
              <a:rPr lang="en-US" dirty="0"/>
              <a:t> container </a:t>
            </a:r>
            <a:r>
              <a:rPr lang="en-US" dirty="0" err="1"/>
              <a:t>tarafından</a:t>
            </a:r>
            <a:r>
              <a:rPr lang="en-US" dirty="0"/>
              <a:t> </a:t>
            </a:r>
            <a:r>
              <a:rPr lang="en-US" dirty="0" err="1"/>
              <a:t>paylaşılabilir</a:t>
            </a:r>
            <a:r>
              <a:rPr lang="en-US" dirty="0"/>
              <a:t>. </a:t>
            </a:r>
            <a:r>
              <a:rPr lang="en-US" dirty="0" err="1"/>
              <a:t>Podlar</a:t>
            </a:r>
            <a:r>
              <a:rPr lang="en-US" dirty="0"/>
              <a:t> </a:t>
            </a:r>
            <a:r>
              <a:rPr lang="en-US" dirty="0" err="1"/>
              <a:t>yatay</a:t>
            </a:r>
            <a:r>
              <a:rPr lang="en-US" dirty="0"/>
              <a:t> </a:t>
            </a:r>
            <a:r>
              <a:rPr lang="en-US" dirty="0" err="1"/>
              <a:t>olarak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</a:t>
            </a:r>
            <a:r>
              <a:rPr lang="en-US" dirty="0" err="1"/>
              <a:t>düğüm</a:t>
            </a:r>
            <a:r>
              <a:rPr lang="en-US" dirty="0"/>
              <a:t> </a:t>
            </a:r>
            <a:r>
              <a:rPr lang="en-US" dirty="0" err="1"/>
              <a:t>üzerinde</a:t>
            </a:r>
            <a:r>
              <a:rPr lang="en-US" dirty="0"/>
              <a:t> </a:t>
            </a:r>
            <a:r>
              <a:rPr lang="en-US" dirty="0" err="1"/>
              <a:t>ölçeklendirilebilir</a:t>
            </a:r>
            <a:r>
              <a:rPr lang="en-US" dirty="0"/>
              <a:t>. </a:t>
            </a:r>
            <a:r>
              <a:rPr lang="en-US" dirty="0" err="1"/>
              <a:t>Ancak</a:t>
            </a:r>
            <a:r>
              <a:rPr lang="en-US" dirty="0"/>
              <a:t>,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öldüğünde</a:t>
            </a:r>
            <a:r>
              <a:rPr lang="en-US" dirty="0"/>
              <a:t> </a:t>
            </a:r>
            <a:r>
              <a:rPr lang="en-US" dirty="0" err="1"/>
              <a:t>geri</a:t>
            </a:r>
            <a:r>
              <a:rPr lang="en-US" dirty="0"/>
              <a:t> </a:t>
            </a:r>
            <a:r>
              <a:rPr lang="en-US" dirty="0" err="1"/>
              <a:t>gelmez</a:t>
            </a:r>
            <a:r>
              <a:rPr lang="en-US" dirty="0"/>
              <a:t>; Kubernetes, </a:t>
            </a:r>
            <a:r>
              <a:rPr lang="en-US" dirty="0" err="1"/>
              <a:t>sağlıksız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gördüğünde</a:t>
            </a:r>
            <a:r>
              <a:rPr lang="en-US" dirty="0"/>
              <a:t> </a:t>
            </a:r>
            <a:r>
              <a:rPr lang="en-US" dirty="0" err="1"/>
              <a:t>onu</a:t>
            </a:r>
            <a:r>
              <a:rPr lang="en-US" dirty="0"/>
              <a:t> </a:t>
            </a:r>
            <a:r>
              <a:rPr lang="en-US" dirty="0" err="1"/>
              <a:t>kaldırıp</a:t>
            </a:r>
            <a:r>
              <a:rPr lang="en-US" dirty="0"/>
              <a:t> </a:t>
            </a:r>
            <a:r>
              <a:rPr lang="en-US" dirty="0" err="1"/>
              <a:t>yerine</a:t>
            </a:r>
            <a:r>
              <a:rPr lang="en-US" dirty="0"/>
              <a:t> </a:t>
            </a:r>
            <a:r>
              <a:rPr lang="en-US" dirty="0" err="1"/>
              <a:t>sağlıklı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oluşturur</a:t>
            </a:r>
            <a:r>
              <a:rPr lang="en-US" dirty="0"/>
              <a:t>.</a:t>
            </a:r>
          </a:p>
          <a:p>
            <a:r>
              <a:rPr lang="en-US" b="1" dirty="0" err="1"/>
              <a:t>Kopyalar</a:t>
            </a:r>
            <a:r>
              <a:rPr lang="en-US" b="1" dirty="0"/>
              <a:t> (Replicas) </a:t>
            </a:r>
            <a:r>
              <a:rPr lang="en-US" b="1" dirty="0" err="1"/>
              <a:t>ve</a:t>
            </a:r>
            <a:r>
              <a:rPr lang="en-US" b="1" dirty="0"/>
              <a:t> </a:t>
            </a:r>
            <a:r>
              <a:rPr lang="en-US" b="1" dirty="0" err="1"/>
              <a:t>Yük</a:t>
            </a:r>
            <a:r>
              <a:rPr lang="en-US" b="1" dirty="0"/>
              <a:t> </a:t>
            </a:r>
            <a:r>
              <a:rPr lang="en-US" b="1" dirty="0" err="1"/>
              <a:t>Dengeleme</a:t>
            </a:r>
            <a:r>
              <a:rPr lang="en-US" dirty="0"/>
              <a:t>: </a:t>
            </a:r>
            <a:r>
              <a:rPr lang="en-US" dirty="0" err="1"/>
              <a:t>Pod’ları</a:t>
            </a:r>
            <a:r>
              <a:rPr lang="en-US" dirty="0"/>
              <a:t> </a:t>
            </a:r>
            <a:r>
              <a:rPr lang="en-US" dirty="0" err="1"/>
              <a:t>yatay</a:t>
            </a:r>
            <a:r>
              <a:rPr lang="en-US" dirty="0"/>
              <a:t> </a:t>
            </a:r>
            <a:r>
              <a:rPr lang="en-US" dirty="0" err="1"/>
              <a:t>olarak</a:t>
            </a:r>
            <a:r>
              <a:rPr lang="en-US" dirty="0"/>
              <a:t> </a:t>
            </a:r>
            <a:r>
              <a:rPr lang="en-US" dirty="0" err="1"/>
              <a:t>ölçeklendirmek</a:t>
            </a:r>
            <a:r>
              <a:rPr lang="en-US" dirty="0"/>
              <a:t> </a:t>
            </a:r>
            <a:r>
              <a:rPr lang="en-US" dirty="0" err="1"/>
              <a:t>için</a:t>
            </a:r>
            <a:r>
              <a:rPr lang="en-US" dirty="0"/>
              <a:t> </a:t>
            </a:r>
            <a:r>
              <a:rPr lang="en-US" dirty="0" err="1"/>
              <a:t>kopyalar</a:t>
            </a:r>
            <a:r>
              <a:rPr lang="en-US" dirty="0"/>
              <a:t> (replicas) </a:t>
            </a:r>
            <a:r>
              <a:rPr lang="en-US" dirty="0" err="1"/>
              <a:t>oluşturabilirsiniz</a:t>
            </a:r>
            <a:r>
              <a:rPr lang="en-US" dirty="0"/>
              <a:t>. Bu </a:t>
            </a:r>
            <a:r>
              <a:rPr lang="en-US" dirty="0" err="1"/>
              <a:t>kopyalar</a:t>
            </a:r>
            <a:r>
              <a:rPr lang="en-US" dirty="0"/>
              <a:t>, </a:t>
            </a:r>
            <a:r>
              <a:rPr lang="en-US" dirty="0" err="1"/>
              <a:t>aynı</a:t>
            </a:r>
            <a:r>
              <a:rPr lang="en-US" dirty="0"/>
              <a:t> </a:t>
            </a:r>
            <a:r>
              <a:rPr lang="en-US" dirty="0" err="1"/>
              <a:t>Pod’un</a:t>
            </a:r>
            <a:r>
              <a:rPr lang="en-US" dirty="0"/>
              <a:t> </a:t>
            </a:r>
            <a:r>
              <a:rPr lang="en-US" dirty="0" err="1"/>
              <a:t>klonlarıdır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Kubernetes, </a:t>
            </a:r>
            <a:r>
              <a:rPr lang="en-US" dirty="0" err="1"/>
              <a:t>bunlar</a:t>
            </a:r>
            <a:r>
              <a:rPr lang="en-US" dirty="0"/>
              <a:t> </a:t>
            </a:r>
            <a:r>
              <a:rPr lang="en-US" dirty="0" err="1"/>
              <a:t>arasında</a:t>
            </a:r>
            <a:r>
              <a:rPr lang="en-US" dirty="0"/>
              <a:t> </a:t>
            </a:r>
            <a:r>
              <a:rPr lang="en-US" dirty="0" err="1"/>
              <a:t>yük</a:t>
            </a:r>
            <a:r>
              <a:rPr lang="en-US" dirty="0"/>
              <a:t> </a:t>
            </a:r>
            <a:r>
              <a:rPr lang="en-US" dirty="0" err="1"/>
              <a:t>dengelemesi</a:t>
            </a:r>
            <a:r>
              <a:rPr lang="en-US" dirty="0"/>
              <a:t> </a:t>
            </a:r>
            <a:r>
              <a:rPr lang="en-US" dirty="0" err="1"/>
              <a:t>yapar</a:t>
            </a:r>
            <a:r>
              <a:rPr lang="en-US" dirty="0"/>
              <a:t>. </a:t>
            </a:r>
            <a:r>
              <a:rPr lang="en-US" dirty="0" err="1"/>
              <a:t>Sağlıksız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Pod </a:t>
            </a:r>
            <a:r>
              <a:rPr lang="en-US" dirty="0" err="1"/>
              <a:t>algılandığında</a:t>
            </a:r>
            <a:r>
              <a:rPr lang="en-US" dirty="0"/>
              <a:t> Kubernetes, </a:t>
            </a:r>
            <a:r>
              <a:rPr lang="en-US" dirty="0" err="1"/>
              <a:t>onu</a:t>
            </a:r>
            <a:r>
              <a:rPr lang="en-US" dirty="0"/>
              <a:t> </a:t>
            </a:r>
            <a:r>
              <a:rPr lang="en-US" dirty="0" err="1"/>
              <a:t>kaldırır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sağlıklı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</a:t>
            </a:r>
            <a:r>
              <a:rPr lang="en-US" dirty="0" err="1"/>
              <a:t>kopyasını</a:t>
            </a:r>
            <a:r>
              <a:rPr lang="en-US" dirty="0"/>
              <a:t> </a:t>
            </a:r>
            <a:r>
              <a:rPr lang="en-US" dirty="0" err="1"/>
              <a:t>getiri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6817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427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9548E-1429-6EB4-BA56-BF1754B711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F54DC8-A460-C5B2-AE1E-8AEF525CAA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932FA3-B69E-9D52-B8EE-A074DA1AA3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sl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ün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ıy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t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ünül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ğaz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t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dığın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o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tuy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mazsı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ün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rsı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tam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y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stediğ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d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ra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t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rey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Ya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işiy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ruy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“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z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ysi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”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z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ysis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işiy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ar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zayday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la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ğru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aşamay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lığ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mam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nu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d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knoloji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lığ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iş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yat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aş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dığ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nanı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yüz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rek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i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z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ysis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ıpk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11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E30446-9CB9-A44A-CC75-B7AE4DB2B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9C68BF-0593-2D0F-9660-6F3E849FE9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7B6EA8-E227-217B-6A94-B574356C35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rın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ar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maz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Kubernetes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la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tekley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eşenl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lid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Kubernetes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s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tainer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ço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m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d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t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ra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 set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rey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c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ların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masın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 Service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nak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zgü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ldığınd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d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lerindek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ıkl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d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m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mız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o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sın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çekleştir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9287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7C861A-B982-7F48-A4D1-65044D18F9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2B23C6-534F-89D4-7ACD-E2EDE57EBA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DDA5E8-9E40-764A-BB42-680A06A135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 (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a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k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ünebileceğim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ster Node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work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cd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to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m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kk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zlenm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t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taba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ünül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roller Manager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cheduler (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amanlayıcı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roller manag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eş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hedu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lığ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Scheduler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 zama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ılacağ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tılacağ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rar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DevOp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T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ci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tı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nderir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ç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ster’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k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nder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çt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AML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JSO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rmat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et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P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su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nder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AP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s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RESTful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l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H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y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de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ç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l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ast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 Runti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tainer runtim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d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-prox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prox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eş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her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nzer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hsed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izmetler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services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teg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ş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surlard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imd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sın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ydalar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naryolar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me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miz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uy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malıy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“Bun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ar?” Bi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ret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gilenmiyoru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yorsa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at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a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ço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en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vcu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z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yduğumuz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gula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sı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o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tı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4093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2E9EF-61C2-9367-373C-27AB5D50B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688D6-5A81-F942-3A1D-5F5A9AC59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9D1C-27AF-1A74-CC8D-FB79BCFAC0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91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4DBF7C-61FE-C4EB-CC82-91670AD085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0810AC-7A1D-72A5-3854-6319CF26E0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B095D1-B957-55C7-4B84-E79C569FF7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301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785EC-1D17-B8E7-E578-E2D7D1AE8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90897D-9298-95F9-8499-7D86EDBA5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E4229D-2E71-B79C-7BA5-12C77D3DB2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7506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3960E-7AE6-0ADB-5AF9-92CFC0DB2D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B27BB0-7269-B7DC-D5F7-D7EEA8670A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0204BB-B47D-A2B3-4857-2B8B4B3FC7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260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D4BC2-2792-A3CE-38E5-E87BCDB4A8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8727F5-D966-EE7F-B05C-09BAB2B24B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8A5DC7-0277-157E-3FD9-0B0BE076B7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7155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3092E-668B-1FD9-75C4-798ABF0CBB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337669-E88F-E87D-3FB7-411DA4B44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32AFB-D8E9-525E-56B5-D76449E89E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1175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EF5BD-F357-5153-8C56-A2F147CAF6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CF557D-42E2-C724-8A94-1DA7F1718B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BE9134-5276-0961-6A0D-5252E52CCC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05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2647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9F4889-7563-B99D-753F-318921D757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585846-8829-F38B-A316-01277A01D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BD6C2E-43E4-4ABA-922A-B854326642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dül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m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 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p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t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ular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acağ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imdiy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d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kk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kç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ind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dığın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rhang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lin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nı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a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kaniz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kt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ı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lini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me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6557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8198B-99F0-BB6A-610B-E251C7DB8E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876BBE-6DCF-971D-8761-B25E42780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FCFEF2-FB0C-0786-A950-4E5E2B6D1B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31748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49285E-EE5C-5B4D-923A-00F163123D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31CD6D-9610-02E9-02C2-5316ABAD0D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2956EF-B033-ADA4-D9C5-28EF73C7CC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41714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F2F78-2ED5-BFB4-57AF-CA13506A8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DC4A72-A4BE-2033-6B56-3BAC886BF5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EA5E26-F17C-905A-D32E-99AFAC2D7B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un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k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duğunu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rhang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lin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nı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ec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kt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ı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di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lini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me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t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ra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ployment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rey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ir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klaratif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t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ıks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siy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tir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v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ısı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en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zey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mas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t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mey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tek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ir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eployment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’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s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viyes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aran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d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Deployment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nm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k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vantaj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vrim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ıkm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dın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miş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s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miş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tay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m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ta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leran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t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ısı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mas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5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iyorsa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e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licaSe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ıy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r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e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t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leran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Zero-Downtime Updates)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yebilmeniz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eks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ler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evrimdış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Kubernet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ler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ü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l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 Alma (Rollback)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lev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ön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v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tığın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ıka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abilirs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2070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CD432-F89E-7F48-6A79-58E864BA56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3BBB25-746A-07B6-E1E2-FC8CA8FC7E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01B388-F262-9FDF-094E-FA0582278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5877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4D306E-5EF4-A3C7-4716-6634E8056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CE098C-A69F-5671-73B4-CE948B0A5F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62B11C-D070-4AF5-4853-CE403FFC69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eks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ler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ndiğ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duru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tain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yord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ı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şanabiliyord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loyment’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ün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durm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ü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manız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n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ey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ling Update (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sayılan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r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şama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tıl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Her yeni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z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lin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lene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d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a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şamas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51271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C383B-4538-5026-21F7-EABFCC0B7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60C821-9748-2E75-6022-2ED14EF4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B8E0E7-24CE-C9E5-F8AA-B943F89262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None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lue-Green Deploymen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.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ildikt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f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dir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None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nary Deploymen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o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ktar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f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dir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ç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u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ildikt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f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ktarıl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None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/B Testin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up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ıl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erlendir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lbac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r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şanı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önül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ling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pdate’in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l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v1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ü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ç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u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sayalı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Rolling updat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dığ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lk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2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ü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l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z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lar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tıl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le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ü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e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d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a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 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pply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YAML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nızda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pply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uy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dığınız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Kubernet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celleme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s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dunuz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tekle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zmanız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kt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Kubernet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lled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3465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2AD683-2FCE-C5B2-93FC-B84636AB2B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B10B5F-F569-301A-1970-624895C9C0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73AB16-DA9C-0784-CAA5-8AC2426C88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k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mem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mkü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79639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78AEF-E255-6F61-868A-D0809EB0A2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10ADC9-87C7-C220-DF39-1CEA66F1E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2B618C-38A8-DF53-A9A7-2B57345F64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3021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BD64EE-DF0A-2BF4-945A-6C95C4D55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4CC13E-1570-5242-9004-C8005295FC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431606-519C-D34A-7F16-23824BA11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ronten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acken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aştığ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şünel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Peki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ir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sintiy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ğray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eva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kç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s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emey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z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cım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ar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kta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y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z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z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latılma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lanma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u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üy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sılık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acaklard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mkü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l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ta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rile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klendiği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t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ğ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eml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kt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lnızc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landıkt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enmesi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Yani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m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ce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eme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da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n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ya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ğru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orlaştır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me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525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Class list a min of 5 expectations and what they aim to learn at the end of the cours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98436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0CD270-FC27-CB9D-CB57-256D10C78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AA2403-2E7B-9D4F-89E9-F4A255F5C0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B61B62-CADF-8081-A50E-2D86287843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a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yutlamakt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kalarında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l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acaklar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ir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lem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Labels)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leştirm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my-ap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iy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lanm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a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r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da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s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i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n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leşi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kanizması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hipt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n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lır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ğren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m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a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-proxy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al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Work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prox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a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Layer 4 (TCP/IP)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kliliğ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ic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ld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ünk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mes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ktadı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dpoin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dpoint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endpoints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öprü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şlev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rü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uç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pod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liğ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yutlayar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kl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4334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861AB-92D2-470F-4D31-648D75B4EC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6CFC36-F4C1-15B8-C2E2-042C9701AD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0643A-17AD-D48E-3066-C14695613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ğe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caks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dirileceğ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ma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Servis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kadak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P’ler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gilen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06664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DCEAE-A750-9AF2-A81A-FDFB66639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DEB873-6F06-C81E-08F0-861FDAE9B0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388427-B970-0DEA-F842-6093BB18AC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lerle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rm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ervis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k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ront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n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sayalı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işkilendir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eml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ktördü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Servis, front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in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hip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ar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dak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n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stlen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letişi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front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ı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ubuy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ack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y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mes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ğ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in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lığıy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n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back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gil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acke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ın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işkilendir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t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riti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yn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iketl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es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k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ebi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lar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s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d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z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işkilendirildiğ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la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arıd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diğin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ilk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nc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diri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k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kinc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rayl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a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üreç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k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li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yıcı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yıcı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n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y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kr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kr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ucuy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aş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Kubernetes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y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ruyar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kleri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n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lendirilmesin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gili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ndığında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lanı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eni po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yı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mey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am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er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1079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1D95-BA95-5061-624D-C2A78BD35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23D0B6-0D6C-1306-5558-7B68E7C7E4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6146BC-5C60-D1F2-79FA-0654434C81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'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ler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men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Servi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le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diğimiz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3 ana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l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sayı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lusterIP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'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i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y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mas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i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kin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Port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’t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ü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r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labilec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at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r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r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çüncü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adBalanc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ü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leştir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ğ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u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laş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r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lusterIP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rum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nd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lnızc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s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ğ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 Zaman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dec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ğ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cak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kroservi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maris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s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t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yor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vantaj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arsayı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arı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alı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nak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ketim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s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mli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ünkü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k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me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.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Port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rum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arı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r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si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zü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nd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ü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vi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’ları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en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r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 Zaman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ştir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lar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am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yici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k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stem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yı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arı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r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nır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cak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vantaj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rulu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;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’u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P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res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r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zavantaj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rtlarl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nırlı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s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k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ünkü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ğru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de’lar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rtlar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nırlı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i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pt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fi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dar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m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ya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.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adBalancer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urum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lar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rcih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d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Kubernete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yıcısı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duğ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yiciy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y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 Zaman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düksiyo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yor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s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bilirl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zellik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teniyors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ny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nma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ğ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şt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cılar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ğru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ce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web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vantaj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ylec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fi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şi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ğıt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yıcısı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duğ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geleyiciy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tomat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ebilirl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ilirl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n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zavantaj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r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AWS, Azur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oogle Cloud).</a:t>
            </a:r>
          </a:p>
          <a:p>
            <a:pPr marL="685800" marR="0"/>
            <a:r>
              <a:rPr lang="en-US" dirty="0">
                <a:effectLst/>
              </a:rPr>
              <a:t>Bulut </a:t>
            </a:r>
            <a:r>
              <a:rPr lang="en-US" dirty="0" err="1">
                <a:effectLst/>
              </a:rPr>
              <a:t>sağlayıcısına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bağlı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olduğundan</a:t>
            </a:r>
            <a:r>
              <a:rPr lang="en-US" dirty="0">
                <a:effectLst/>
              </a:rPr>
              <a:t>, </a:t>
            </a:r>
            <a:r>
              <a:rPr lang="en-US" dirty="0" err="1">
                <a:effectLst/>
              </a:rPr>
              <a:t>maliyetler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yükselebilir</a:t>
            </a:r>
            <a:r>
              <a:rPr lang="en-US" dirty="0">
                <a:effectLst/>
              </a:rPr>
              <a:t>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39333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BD287-658B-6A3C-7D1D-EAB090CCDB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806FF1-B84F-F1FB-34E8-AE68BB28D1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FACC20-4802-00CD-23AC-6B43A9BCCA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63720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58B8A-E8A1-F275-C863-DEDDBCCB7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0107BC-5C3B-C0F8-1731-1FC2B2A0D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8E0863-6BBE-6ACE-FA91-7FCCD93AE9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sayıcılarla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ırken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kça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ndeme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en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ulardan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dır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ir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sayıcı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container)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ktüğünde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stemi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mez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le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lir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Peki,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yi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u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de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mamız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ğinde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 </a:t>
            </a:r>
            <a:r>
              <a:rPr lang="en-US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arız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26986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1CC915-2704-41E1-E1AD-395D076A54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6A014E-BED3-3C12-B9ED-C70EA1CEEA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CFB062-F763-0985-F60B-B10984C23C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nın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vram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n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ensipler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klayacağ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olume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ocker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ysan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şin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eceğin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olum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vram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acağı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 Volumes </a:t>
            </a:r>
            <a:r>
              <a:rPr lang="en-US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ersistent Volume Claim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Ver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lığ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y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sayı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öktüğün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il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ümkü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ıl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ında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hsed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orage Classes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Persistent volume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laim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likt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b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nıflar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eley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düld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psayıcıla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ın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ya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tirere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y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aylaşmak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olume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rı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bileceğini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ğreneceğiz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446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42EBE1-C18F-E1E0-E467-4630D3B21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F571B4-9910-507F-D24D-D3CDB4B51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95CDDC-97A3-5C10-EF59-ACC4D3024C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78215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3D7257-64F4-9B73-EEBC-F72F3D7062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4FAAF2-AD0E-F0F4-D5CE-B9F73B86FB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0974F3-CF95-0DD1-B225-8C80FFD360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PV)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Cla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PVC)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vramları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tay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k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kk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çık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c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s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çer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mi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n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ıms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şa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öngüsü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hipt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rafınd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n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V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e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u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hangi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ksız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en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lan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bil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Cla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lıc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c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alebi)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’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lept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PVC, pod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ploymen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’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c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’y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dıkt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n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pod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snes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VC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im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m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nağ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İlk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m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nağ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NF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çüncü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arti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ene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l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PV,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PI’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ded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ersistentVolumeCla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’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VC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ul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C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V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Kubernetes, PVC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V’y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bi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ylec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228600" marR="0"/>
            <a:r>
              <a:rPr lang="en-US" b="1" dirty="0" err="1">
                <a:effectLst/>
              </a:rPr>
              <a:t>PVC’yi</a:t>
            </a:r>
            <a:r>
              <a:rPr lang="en-US" b="1" dirty="0">
                <a:effectLst/>
              </a:rPr>
              <a:t> Pod </a:t>
            </a:r>
            <a:r>
              <a:rPr lang="en-US" b="1" dirty="0" err="1">
                <a:effectLst/>
              </a:rPr>
              <a:t>veya</a:t>
            </a:r>
            <a:r>
              <a:rPr lang="en-US" b="1" dirty="0">
                <a:effectLst/>
              </a:rPr>
              <a:t> </a:t>
            </a:r>
            <a:r>
              <a:rPr lang="en-US" b="1" dirty="0" err="1">
                <a:effectLst/>
              </a:rPr>
              <a:t>Deployment’a</a:t>
            </a:r>
            <a:r>
              <a:rPr lang="en-US" b="1" dirty="0">
                <a:effectLst/>
              </a:rPr>
              <a:t> </a:t>
            </a:r>
            <a:r>
              <a:rPr lang="en-US" b="1" dirty="0" err="1">
                <a:effectLst/>
              </a:rPr>
              <a:t>Bağlama</a:t>
            </a:r>
            <a:r>
              <a:rPr lang="en-US" dirty="0">
                <a:effectLst/>
              </a:rPr>
              <a:t>: Son </a:t>
            </a:r>
            <a:r>
              <a:rPr lang="en-US" dirty="0" err="1">
                <a:effectLst/>
              </a:rPr>
              <a:t>adımda</a:t>
            </a:r>
            <a:r>
              <a:rPr lang="en-US" dirty="0">
                <a:effectLst/>
              </a:rPr>
              <a:t>, pod </a:t>
            </a:r>
            <a:r>
              <a:rPr lang="en-US" dirty="0" err="1">
                <a:effectLst/>
              </a:rPr>
              <a:t>veya</a:t>
            </a:r>
            <a:r>
              <a:rPr lang="en-US" dirty="0">
                <a:effectLst/>
              </a:rPr>
              <a:t> deployment </a:t>
            </a:r>
            <a:r>
              <a:rPr lang="en-US" dirty="0" err="1">
                <a:effectLst/>
              </a:rPr>
              <a:t>şablonu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içinde</a:t>
            </a:r>
            <a:r>
              <a:rPr lang="en-US" dirty="0">
                <a:effectLst/>
              </a:rPr>
              <a:t> PVC </a:t>
            </a:r>
            <a:r>
              <a:rPr lang="en-US" dirty="0" err="1">
                <a:effectLst/>
              </a:rPr>
              <a:t>tanımlanır</a:t>
            </a:r>
            <a:r>
              <a:rPr lang="en-US" dirty="0">
                <a:effectLst/>
              </a:rPr>
              <a:t>. Bu </a:t>
            </a:r>
            <a:r>
              <a:rPr lang="en-US" dirty="0" err="1">
                <a:effectLst/>
              </a:rPr>
              <a:t>sayede</a:t>
            </a:r>
            <a:r>
              <a:rPr lang="en-US" dirty="0">
                <a:effectLst/>
              </a:rPr>
              <a:t> pod, </a:t>
            </a:r>
            <a:r>
              <a:rPr lang="en-US" dirty="0" err="1">
                <a:effectLst/>
              </a:rPr>
              <a:t>depolama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birimine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okuma</a:t>
            </a:r>
            <a:r>
              <a:rPr lang="en-US" dirty="0">
                <a:effectLst/>
              </a:rPr>
              <a:t>/</a:t>
            </a:r>
            <a:r>
              <a:rPr lang="en-US" dirty="0" err="1">
                <a:effectLst/>
              </a:rPr>
              <a:t>yazma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erişimi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sağlar</a:t>
            </a:r>
            <a:r>
              <a:rPr lang="en-US" dirty="0">
                <a:effectLst/>
              </a:rPr>
              <a:t>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15123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64B9BD-652F-E520-1549-B94C9265C9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2E89C8-5C51-0302-F034-B5E651DAD2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11352A-A9DA-9468-DD48-8C184C01E7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899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Class list a min of 5 expectations and what they aim to learn at the end of the cours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73746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652F-4FF3-F2EE-CC52-10FAEC2A8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FB91DD-8D61-6ADA-26E8-033C44FFB2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0FB6D2-26D6-E2E2-AB58-3028A3E904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87316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493436-2EB1-773C-FB7B-5DC42F3C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150087-52B8-2E17-E764-663E06B4C2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50356F-6CD0-03D5-6C14-7159AAC8AF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61355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A7062-B07A-1C45-E2F8-445C544AA1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EA2B1E-C3F3-248F-7143-452D358F51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B31529-F5DA-5876-7AE2-3836C9F575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lk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'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Pod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taine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şk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lçeklendiğ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ni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lanlandığ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il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yılm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im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laylaştır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’i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ntı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jekt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t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He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yul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zda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ölü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m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orunda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c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rhang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r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rıla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a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zorlaştır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lar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rey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pola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çenek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uyl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AML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yabilirsin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eri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ayded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tırınd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iteral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er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ct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mu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tı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ızlıc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kleyebilirsin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ifest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YAML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s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anifes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uştura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/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iftler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layabilirsin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Pod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olu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stem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istemin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r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da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er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kuyabilirsini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e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tem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’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eceğ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rıntı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sterece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'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tığ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abileceğ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lamanı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me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ri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teliğinde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25357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01469-830A-6FDF-F199-02EFB66AAC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A69E13-043D-8A08-F7F0-90F797442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9281E6-5636-E500-9DE2-9F0B0DFCA4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64100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63132-B782-78E7-4CDB-1A2F552BC8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59CD1C-0112-4110-1643-6F9DE00747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F1C2A5-C330-D054-72AA-BE65FD8F90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48212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25361D-0C8D-84E5-7E7D-5FD6128E7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0CFF32-8B67-7679-A537-9A43D9B650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132FE6-38DB-145F-FCFD-D41D007D4D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ş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’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önetebileceğiniz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em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d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ecret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't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üçü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ktar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y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ğ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ifre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ken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rtifika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y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sned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Kubernete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’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od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k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’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mac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ecret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tainer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örüntüler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lar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deploymen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ifestler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nmas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leyer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ğ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tır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sıl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i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ntaj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Volume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ara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ecret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s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klen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l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ıpk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’ler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duğ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Secrets de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ken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acılığıyl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lebili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zellik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lnızc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’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htiyaç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y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d'lar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lunduğ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y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htiyaç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ymay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u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emez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Bu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ldı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zeyin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alt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s,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üğümd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mpfs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zerind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nır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sk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zılma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39276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C0DE2-9FF3-3C14-B361-0BA2A5722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F1B0DD-754F-9553-4136-E7D08CCF95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DFBDEA-4198-31C7-5799-FCE039989A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e Zaman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ya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taba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ğlant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RL's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production, developmen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kç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meye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yar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Map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llik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bit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y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dir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e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ndu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vranışını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tirm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Çalış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tamınd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ygulamanı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vranışın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ğiştirm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arkl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ğ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>
              <a:lnSpc>
                <a:spcPct val="107000"/>
              </a:lnSpc>
              <a:spcAft>
                <a:spcPts val="800"/>
              </a:spcAf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rne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DATABASE_HOS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maya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m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er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 startAt="2"/>
              <a:tabLst>
                <a:tab pos="4572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ret Ne Zaman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?</a:t>
            </a: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ssas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arolala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API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ifrelem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htarlar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lirteç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b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i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m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llanıl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ükse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k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tiren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lar</a:t>
            </a:r>
            <a:r>
              <a:rPr lang="en-US" sz="11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İç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Hassa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lgile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ubernetes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d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ase64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dlanmış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klan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 Ek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lara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ubernetes'in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k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zellikleriyle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cret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ıkı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netim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ltındadır</a:t>
            </a:r>
            <a:r>
              <a:rPr lang="en-US" sz="11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11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ısıtlaması</a:t>
            </a:r>
            <a:r>
              <a:rPr lang="en-US" sz="11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reken</a:t>
            </a:r>
            <a:r>
              <a:rPr lang="en-US" sz="11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rumlarda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ecret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bjeleri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etkisiz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i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önlemek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çin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banlı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rişim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trolleri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RBAC)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l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ha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üvenli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r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şekilde</a:t>
            </a:r>
            <a:r>
              <a:rPr lang="en-US" sz="1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apılandırılabili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8042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096A42-B447-3251-4E34-90B080978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493D8C-2049-9551-95B6-0AC1BA707D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2B5EE7-D7FC-4A37-CFBB-6665411D05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6538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45355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/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niko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oogle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afınd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liştirilmiş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ntainer image build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ush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oludu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ker daemon a access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olmad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n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pa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n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erverless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şekild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pmas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bebiyl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nagement ı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çok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h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laydı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cker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llanmad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niko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mage build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memiz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rıyo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çoğ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duction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ortam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pelinelarınd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uild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ush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şamasınd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ld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kins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d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 docker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ol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nuc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llanıyo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ni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uild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ush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şamas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çi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ocker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ağımlılığ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ar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leneksel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pıd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kins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ocker daemon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çalış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ode a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licationın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ini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dırıp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ush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tiri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öylec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h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nr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ploy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şamasınd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llanabiliriz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nu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parke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ocker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çalışan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nucud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ocker sock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par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/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üvenlik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runların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raberind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iriyo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yrıca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host a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htiyaç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yması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bebiyle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erverless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çözüm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nmuyor</a:t>
            </a:r>
            <a:r>
              <a:rPr lang="en-US" sz="1800" dirty="0"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8553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3C3B37"/>
                </a:solidFill>
                <a:effectLst/>
                <a:latin typeface="sf pro text"/>
              </a:rPr>
              <a:t>This course will teach you the fundamentals of business process modelling.</a:t>
            </a:r>
          </a:p>
          <a:p>
            <a:pPr algn="l"/>
            <a:r>
              <a:rPr lang="en-GB" b="0" i="0" dirty="0">
                <a:solidFill>
                  <a:srgbClr val="3C3B37"/>
                </a:solidFill>
                <a:effectLst/>
                <a:latin typeface="sf pro text"/>
              </a:rPr>
              <a:t>The course starts with an overview of business process management, then dives into modelling techniques. The course wraps up with a detailed case study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5054362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34187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74065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44547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FC4D67-EBD3-044B-B792-E8D4D3DF27F0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48810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96AAF-2F8D-DA22-EFE5-D5B8A9E4E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6652C-5FC9-C35C-1BEC-79BB62F767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73EA15-359F-180A-6F75-AE9BA0902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7A844A-D1EF-35A5-2021-19ABE820D8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FC4D67-EBD3-044B-B792-E8D4D3DF27F0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203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333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CB326A-3F2D-3C4D-D085-B69FD58771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F7D694-912B-5AA2-5D12-1CC43CFFA1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9E4440-5049-EC0F-3AAE-8B5898124D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3497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E95E26-437A-E11C-8714-E817ADAC91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B48DA4-07A4-4336-133D-73C52E9361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EF0942-4BD5-43E0-BD72-2E971BBFDC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949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38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5065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087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9"/>
          <p:cNvSpPr>
            <a:spLocks noGrp="1"/>
          </p:cNvSpPr>
          <p:nvPr>
            <p:ph type="pic" idx="13"/>
          </p:nvPr>
        </p:nvSpPr>
        <p:spPr>
          <a:xfrm>
            <a:off x="0" y="-20444"/>
            <a:ext cx="12192000" cy="689888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tr-TR"/>
              <a:t>Drag picture to placeholder or click icon to add</a:t>
            </a:r>
            <a:endParaRPr/>
          </a:p>
        </p:txBody>
      </p:sp>
      <p:sp>
        <p:nvSpPr>
          <p:cNvPr id="1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427496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5FEB0C-1117-4726-A1E5-4A0D732F2F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9432B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33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tr-TR" sz="1800" b="0" i="0" u="none" strike="noStrike" cap="none" spc="0" normalizeH="0" baseline="0">
                <a:ln>
                  <a:noFill/>
                </a:ln>
                <a:solidFill>
                  <a:srgbClr val="001847"/>
                </a:solidFill>
                <a:effectLst/>
                <a:uFillTx/>
                <a:latin typeface="Gilroy Light" panose="00000400000000000000" pitchFamily="50" charset="0"/>
                <a:ea typeface="+mn-ea"/>
                <a:cs typeface="+mn-cs"/>
                <a:sym typeface="Helvetica"/>
              </a:rPr>
              <a:t> </a:t>
            </a: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1847"/>
              </a:solidFill>
              <a:effectLst/>
              <a:uFillTx/>
              <a:latin typeface="Gilroy Light" panose="00000400000000000000" pitchFamily="50" charset="0"/>
              <a:ea typeface="+mn-ea"/>
              <a:cs typeface="+mn-cs"/>
              <a:sym typeface="Helvetica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3B3902-294C-47E5-80DA-B8BBD10EDD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39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3B3902-294C-47E5-80DA-B8BBD10ED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2C9230D-30F8-4700-AF4A-F13E0A26DD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93" y="192782"/>
            <a:ext cx="1955813" cy="1131773"/>
          </a:xfrm>
          <a:prstGeom prst="rect">
            <a:avLst/>
          </a:prstGeom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F85CB571-95F1-41E8-8D00-3979C66FA9C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541083" y="6480905"/>
            <a:ext cx="273471" cy="261610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100">
                <a:solidFill>
                  <a:schemeClr val="bg1"/>
                </a:solidFill>
                <a:latin typeface="Gilroy Light" panose="00000400000000000000" pitchFamily="50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90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userDrawn="1">
  <p:cSld name="Blank slide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7B2EDF27-894D-4003-B6F8-ED5D85E1B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690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7B2EDF27-894D-4003-B6F8-ED5D85E1B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0AF5424-0E58-4350-920B-91DBDEE488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AE2484-2FEA-4761-A2DD-CFA2A926E4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5466E10-BD65-4809-B7BE-45AEDD705E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374" y="2647801"/>
            <a:ext cx="5353051" cy="914400"/>
          </a:xfrm>
          <a:prstGeom prst="rect">
            <a:avLst/>
          </a:prstGeom>
        </p:spPr>
        <p:txBody>
          <a:bodyPr/>
          <a:lstStyle>
            <a:lvl1pPr>
              <a:defRPr sz="4800" b="1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6A3D608-A3D4-41BF-89B1-04EA55902154}"/>
              </a:ext>
            </a:extLst>
          </p:cNvPr>
          <p:cNvSpPr txBox="1">
            <a:spLocks/>
          </p:cNvSpPr>
          <p:nvPr userDrawn="1"/>
        </p:nvSpPr>
        <p:spPr>
          <a:xfrm>
            <a:off x="11541083" y="6480905"/>
            <a:ext cx="273471" cy="261610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defPPr>
              <a:defRPr lang="en-US"/>
            </a:defPPr>
            <a:lvl1pPr algn="r">
              <a:defRPr sz="1100">
                <a:solidFill>
                  <a:schemeClr val="tx2">
                    <a:lumMod val="75000"/>
                  </a:schemeClr>
                </a:solidFill>
                <a:latin typeface="Gilroy Light" panose="00000400000000000000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86CB4B4D-7CA3-9044-876B-883B54F8677D}" type="slidenum">
              <a:rPr lang="en-US" smtClean="0">
                <a:solidFill>
                  <a:schemeClr val="bg2">
                    <a:lumMod val="75000"/>
                  </a:schemeClr>
                </a:solidFill>
              </a:rPr>
              <a:pPr lvl="0"/>
              <a:t>‹#›</a:t>
            </a:fld>
            <a:endParaRPr lang="en-US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AA7285-6232-41DB-1774-F33BDB5DB69D}"/>
              </a:ext>
            </a:extLst>
          </p:cNvPr>
          <p:cNvSpPr txBox="1"/>
          <p:nvPr userDrawn="1"/>
        </p:nvSpPr>
        <p:spPr>
          <a:xfrm>
            <a:off x="1255136" y="302032"/>
            <a:ext cx="3596264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tr-TR" sz="1100" noProof="0" dirty="0">
                <a:solidFill>
                  <a:schemeClr val="bg2">
                    <a:lumMod val="50000"/>
                  </a:schemeClr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Enterprise </a:t>
            </a:r>
            <a:r>
              <a:rPr lang="tr-TR" sz="1100" noProof="0" dirty="0" err="1">
                <a:solidFill>
                  <a:schemeClr val="bg2">
                    <a:lumMod val="50000"/>
                  </a:schemeClr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Technology</a:t>
            </a:r>
            <a:r>
              <a:rPr lang="tr-TR" sz="1100" noProof="0" dirty="0">
                <a:solidFill>
                  <a:schemeClr val="bg2">
                    <a:lumMod val="50000"/>
                  </a:schemeClr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 </a:t>
            </a:r>
            <a:r>
              <a:rPr lang="en-US" sz="1100" noProof="0" dirty="0">
                <a:solidFill>
                  <a:schemeClr val="bg2">
                    <a:lumMod val="50000"/>
                  </a:schemeClr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Architecture</a:t>
            </a:r>
            <a:r>
              <a:rPr lang="tr-TR" sz="1100" noProof="0" dirty="0">
                <a:solidFill>
                  <a:schemeClr val="bg2">
                    <a:lumMod val="50000"/>
                  </a:schemeClr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 Training</a:t>
            </a:r>
            <a:endParaRPr lang="en-US" sz="1100" noProof="0" dirty="0">
              <a:solidFill>
                <a:schemeClr val="bg2">
                  <a:lumMod val="50000"/>
                </a:schemeClr>
              </a:solidFill>
              <a:latin typeface="Gilroy Light" panose="00000400000000000000" pitchFamily="50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210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714500" y="1166207"/>
            <a:ext cx="1837997" cy="183799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026777" y="1166207"/>
            <a:ext cx="1837997" cy="183799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339052" y="1166207"/>
            <a:ext cx="1837997" cy="183799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2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651329" y="1166207"/>
            <a:ext cx="1837997" cy="183799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3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1714500" y="3909409"/>
            <a:ext cx="1837997" cy="183799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4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4026777" y="3909409"/>
            <a:ext cx="1837997" cy="183799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5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6339052" y="3909409"/>
            <a:ext cx="1837997" cy="183799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6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8651329" y="3909409"/>
            <a:ext cx="1837997" cy="183799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37B45EB-6779-4CD8-B201-520A7EA66E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6C78B6C-9F70-4B39-820D-3494CB9D27D3}"/>
              </a:ext>
            </a:extLst>
          </p:cNvPr>
          <p:cNvSpPr txBox="1"/>
          <p:nvPr userDrawn="1"/>
        </p:nvSpPr>
        <p:spPr>
          <a:xfrm>
            <a:off x="11459452" y="302032"/>
            <a:ext cx="365044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r"/>
            <a:fld id="{86C5659A-6412-480D-91F8-288D8861DF3C}" type="slidenum">
              <a:rPr lang="tr-TR" sz="1100" smtClean="0">
                <a:solidFill>
                  <a:srgbClr val="000000"/>
                </a:solidFill>
                <a:latin typeface="Gilroy Light" panose="00000400000000000000" pitchFamily="50" charset="0"/>
                <a:ea typeface="Arial" charset="0"/>
                <a:cs typeface="Arial" charset="0"/>
              </a:rPr>
              <a:t>‹#›</a:t>
            </a:fld>
            <a:endParaRPr lang="en-US" sz="1100" dirty="0">
              <a:solidFill>
                <a:srgbClr val="000000"/>
              </a:solidFill>
              <a:latin typeface="Gilroy Light" panose="00000400000000000000" pitchFamily="50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81003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744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79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33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762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84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836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004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r-TR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358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FEFFCC-7561-8046-8DB7-73C73F29AAFB}" type="datetimeFigureOut">
              <a:t>11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9F7D65-A13D-4948-8182-1C8C06409A0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46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2.png"/><Relationship Id="rId4" Type="http://schemas.openxmlformats.org/officeDocument/2006/relationships/image" Target="../media/image3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png"/><Relationship Id="rId4" Type="http://schemas.openxmlformats.org/officeDocument/2006/relationships/image" Target="../media/image4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jpe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8.png"/><Relationship Id="rId4" Type="http://schemas.openxmlformats.org/officeDocument/2006/relationships/image" Target="../media/image57.jp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TextBox 5"/>
          <p:cNvSpPr txBox="1"/>
          <p:nvPr/>
        </p:nvSpPr>
        <p:spPr>
          <a:xfrm>
            <a:off x="8739245" y="3996106"/>
            <a:ext cx="3181174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r"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3500" dirty="0">
                <a:solidFill>
                  <a:schemeClr val="bg1"/>
                </a:solidFill>
                <a:latin typeface="Gilroy" panose="00000500000000000000" pitchFamily="50" charset="0"/>
                <a:ea typeface="Gilroy-Medium ☞" charset="0"/>
                <a:cs typeface="Gilroy-Medium ☞" charset="0"/>
              </a:rPr>
              <a:t>DevOps Intermediate</a:t>
            </a:r>
            <a:endParaRPr lang="en-GB" sz="3500" dirty="0">
              <a:solidFill>
                <a:schemeClr val="bg1"/>
              </a:solidFill>
              <a:latin typeface="Gilroy" panose="00000500000000000000" pitchFamily="50" charset="0"/>
              <a:ea typeface="Gilroy-Medium ☞" charset="0"/>
              <a:cs typeface="Gilroy-Medium ☞" charset="0"/>
            </a:endParaRPr>
          </a:p>
        </p:txBody>
      </p:sp>
      <p:sp>
        <p:nvSpPr>
          <p:cNvPr id="611" name="TextBox 5"/>
          <p:cNvSpPr txBox="1"/>
          <p:nvPr/>
        </p:nvSpPr>
        <p:spPr>
          <a:xfrm>
            <a:off x="11824431" y="4538543"/>
            <a:ext cx="65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000">
                <a:solidFill>
                  <a:srgbClr val="000000"/>
                </a:solidFill>
                <a:latin typeface="Montserrat Semi Bold"/>
                <a:ea typeface="Montserrat Semi Bold"/>
                <a:cs typeface="Montserrat Semi Bold"/>
                <a:sym typeface="Montserrat Semi Bold"/>
              </a:defRPr>
            </a:lvl1pPr>
          </a:lstStyle>
          <a:p>
            <a:pPr algn="r"/>
            <a:endParaRPr dirty="0">
              <a:solidFill>
                <a:schemeClr val="bg1"/>
              </a:solidFill>
              <a:latin typeface="Gilroy" panose="00000500000000000000" pitchFamily="50" charset="0"/>
              <a:ea typeface="Gilroy-Regular ☞" charset="0"/>
              <a:cs typeface="Gilroy-Regular ☞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318C2A-92F3-4340-A118-F4B233D28FF8}"/>
              </a:ext>
            </a:extLst>
          </p:cNvPr>
          <p:cNvSpPr txBox="1"/>
          <p:nvPr/>
        </p:nvSpPr>
        <p:spPr>
          <a:xfrm>
            <a:off x="11824432" y="5856791"/>
            <a:ext cx="6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000">
                <a:solidFill>
                  <a:srgbClr val="000000"/>
                </a:solidFill>
                <a:latin typeface="Montserrat Semi Bold"/>
                <a:ea typeface="Montserrat Semi Bold"/>
                <a:cs typeface="Montserrat Semi Bold"/>
                <a:sym typeface="Montserrat Semi Bold"/>
              </a:defRPr>
            </a:lvl1pPr>
          </a:lstStyle>
          <a:p>
            <a:pPr algn="r"/>
            <a:endParaRPr lang="en-GB" b="1" dirty="0">
              <a:solidFill>
                <a:schemeClr val="bg1"/>
              </a:solidFill>
              <a:latin typeface="Gilroy" panose="00000500000000000000" pitchFamily="50" charset="0"/>
              <a:ea typeface="Gilroy-Regular ☞" charset="0"/>
              <a:cs typeface="Gilroy-Regular ☞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6DF379-301B-44ED-AE88-A4830AFEEE9D}"/>
              </a:ext>
            </a:extLst>
          </p:cNvPr>
          <p:cNvSpPr txBox="1"/>
          <p:nvPr/>
        </p:nvSpPr>
        <p:spPr>
          <a:xfrm>
            <a:off x="8935656" y="5704335"/>
            <a:ext cx="26039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endParaRPr lang="tr-TR" sz="2800" dirty="0">
              <a:solidFill>
                <a:schemeClr val="bg1"/>
              </a:solidFill>
              <a:latin typeface="Gilroy" panose="00000500000000000000" pitchFamily="50" charset="0"/>
              <a:ea typeface="Gilroy-Medium ☞" charset="0"/>
              <a:cs typeface="Gilroy-Medium ☞" charset="0"/>
            </a:endParaRPr>
          </a:p>
          <a:p>
            <a:endParaRPr lang="en-GB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E9E6FE-4F00-4539-A4E0-6756C355BA50}"/>
              </a:ext>
            </a:extLst>
          </p:cNvPr>
          <p:cNvSpPr txBox="1"/>
          <p:nvPr/>
        </p:nvSpPr>
        <p:spPr>
          <a:xfrm>
            <a:off x="9612901" y="5011087"/>
            <a:ext cx="2256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1800" dirty="0" err="1">
                <a:solidFill>
                  <a:schemeClr val="bg1"/>
                </a:solidFill>
                <a:latin typeface="Gilroy" panose="00000500000000000000" pitchFamily="50" charset="0"/>
                <a:ea typeface="Gilroy-Medium ☞" charset="0"/>
                <a:cs typeface="Gilroy-Medium ☞" charset="0"/>
              </a:rPr>
              <a:t>Ertuğrul</a:t>
            </a:r>
            <a:r>
              <a:rPr lang="en-US" sz="1800" dirty="0">
                <a:solidFill>
                  <a:schemeClr val="bg1"/>
                </a:solidFill>
                <a:latin typeface="Gilroy" panose="00000500000000000000" pitchFamily="50" charset="0"/>
                <a:ea typeface="Gilroy-Medium ☞" charset="0"/>
                <a:cs typeface="Gilroy-Medium ☞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Gilroy" panose="00000500000000000000" pitchFamily="50" charset="0"/>
                <a:ea typeface="Gilroy-Medium ☞" charset="0"/>
                <a:cs typeface="Gilroy-Medium ☞" charset="0"/>
              </a:rPr>
              <a:t>Şen</a:t>
            </a:r>
            <a:endParaRPr lang="tr-TR" sz="1800" dirty="0">
              <a:solidFill>
                <a:schemeClr val="bg1"/>
              </a:solidFill>
              <a:latin typeface="Gilroy" panose="00000500000000000000" pitchFamily="50" charset="0"/>
              <a:ea typeface="Gilroy-Medium ☞" charset="0"/>
              <a:cs typeface="Gilroy-Medium ☞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701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87D296-2B5C-A1A1-2B61-26229D258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7EB4A89-D4E4-0F3D-719A-71E46A6933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8C0359B-D637-C201-A8A8-052559D794E7}"/>
              </a:ext>
            </a:extLst>
          </p:cNvPr>
          <p:cNvSpPr txBox="1"/>
          <p:nvPr/>
        </p:nvSpPr>
        <p:spPr>
          <a:xfrm>
            <a:off x="377446" y="746036"/>
            <a:ext cx="1038352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Gilroy Light" panose="00000400000000000000"/>
              </a:rPr>
              <a:t>DevOps Core Pillars</a:t>
            </a:r>
          </a:p>
          <a:p>
            <a:r>
              <a:rPr lang="en-US" dirty="0">
                <a:latin typeface="Gilroy Light" panose="00000400000000000000"/>
              </a:rPr>
              <a:t>Overview: Introduction to the core pillars of DevOps. These pillars form the foundation of a successful DevOps implementation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504FBE-A4C1-A070-1F72-BA6D1AAB3C67}"/>
              </a:ext>
            </a:extLst>
          </p:cNvPr>
          <p:cNvSpPr txBox="1"/>
          <p:nvPr/>
        </p:nvSpPr>
        <p:spPr>
          <a:xfrm>
            <a:off x="377446" y="1855615"/>
            <a:ext cx="1019556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4"/>
                </a:solidFill>
                <a:latin typeface="Gilroy Light" panose="00000400000000000000"/>
              </a:rPr>
              <a:t>Culture and Collaboration</a:t>
            </a:r>
          </a:p>
          <a:p>
            <a:endParaRPr lang="en-US" dirty="0">
              <a:latin typeface="Gilroy Light" panose="00000400000000000000"/>
            </a:endParaRPr>
          </a:p>
          <a:p>
            <a:r>
              <a:rPr lang="en-US" dirty="0">
                <a:latin typeface="Gilroy Light" panose="00000400000000000000"/>
              </a:rPr>
              <a:t>Emphasizes the importance of collaboration between teams.</a:t>
            </a:r>
          </a:p>
          <a:p>
            <a:r>
              <a:rPr lang="en-US" dirty="0">
                <a:latin typeface="Gilroy Light" panose="00000400000000000000"/>
              </a:rPr>
              <a:t>Establishes a culture where development, operations, and other departments work together seamlessly.</a:t>
            </a:r>
          </a:p>
          <a:p>
            <a:endParaRPr lang="en-US" dirty="0">
              <a:latin typeface="Gilroy Li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4"/>
                </a:solidFill>
                <a:latin typeface="Gilroy Light" panose="00000400000000000000"/>
              </a:rPr>
              <a:t>Automation</a:t>
            </a:r>
          </a:p>
          <a:p>
            <a:endParaRPr lang="en-US" dirty="0">
              <a:latin typeface="Gilroy Light" panose="00000400000000000000"/>
            </a:endParaRPr>
          </a:p>
          <a:p>
            <a:r>
              <a:rPr lang="en-US" dirty="0">
                <a:latin typeface="Gilroy Light" panose="00000400000000000000"/>
              </a:rPr>
              <a:t>The role of Continuous Integration (CI) and Continuous Delivery (CD) in the DevOps process.</a:t>
            </a:r>
          </a:p>
          <a:p>
            <a:r>
              <a:rPr lang="en-US" dirty="0">
                <a:latin typeface="Gilroy Light" panose="00000400000000000000"/>
              </a:rPr>
              <a:t>Reduces manual effort, increases reliability, and accelerates deployment cycles.</a:t>
            </a:r>
          </a:p>
          <a:p>
            <a:endParaRPr lang="en-US" dirty="0">
              <a:latin typeface="Gilroy Li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4"/>
                </a:solidFill>
                <a:latin typeface="Gilroy Light" panose="00000400000000000000"/>
              </a:rPr>
              <a:t>Continuous Improvement</a:t>
            </a:r>
          </a:p>
          <a:p>
            <a:endParaRPr lang="en-US" dirty="0">
              <a:latin typeface="Gilroy Light" panose="00000400000000000000"/>
            </a:endParaRPr>
          </a:p>
          <a:p>
            <a:r>
              <a:rPr lang="en-US" dirty="0">
                <a:latin typeface="Gilroy Light" panose="00000400000000000000"/>
              </a:rPr>
              <a:t>Rapid feedback loops to identify and address issues quickly.</a:t>
            </a:r>
          </a:p>
          <a:p>
            <a:r>
              <a:rPr lang="en-US" dirty="0">
                <a:latin typeface="Gilroy Light" panose="00000400000000000000"/>
              </a:rPr>
              <a:t>Focus on ongoing development and improvement to adapt to changing needs.</a:t>
            </a:r>
          </a:p>
        </p:txBody>
      </p:sp>
    </p:spTree>
    <p:extLst>
      <p:ext uri="{BB962C8B-B14F-4D97-AF65-F5344CB8AC3E}">
        <p14:creationId xmlns:p14="http://schemas.microsoft.com/office/powerpoint/2010/main" val="48964568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657871-0412-5D45-4AEE-77B4B0F3C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960D40A7-9B84-F4FA-B277-198553C5F475}"/>
              </a:ext>
            </a:extLst>
          </p:cNvPr>
          <p:cNvGrpSpPr/>
          <p:nvPr/>
        </p:nvGrpSpPr>
        <p:grpSpPr>
          <a:xfrm>
            <a:off x="382810" y="823658"/>
            <a:ext cx="11425972" cy="5681407"/>
            <a:chOff x="382810" y="823658"/>
            <a:chExt cx="11425972" cy="568140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3D35956-53C7-3DBB-062A-B990CC2A3818}"/>
                </a:ext>
              </a:extLst>
            </p:cNvPr>
            <p:cNvSpPr/>
            <p:nvPr/>
          </p:nvSpPr>
          <p:spPr>
            <a:xfrm>
              <a:off x="8208782" y="1192758"/>
              <a:ext cx="3600000" cy="4860000"/>
            </a:xfrm>
            <a:prstGeom prst="rect">
              <a:avLst/>
            </a:prstGeom>
            <a:noFill/>
            <a:ln w="9525" cap="flat">
              <a:solidFill>
                <a:srgbClr val="080808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FBDF991-5683-B286-2D55-7270C35B8A7A}"/>
                </a:ext>
              </a:extLst>
            </p:cNvPr>
            <p:cNvSpPr/>
            <p:nvPr/>
          </p:nvSpPr>
          <p:spPr>
            <a:xfrm>
              <a:off x="4295796" y="823658"/>
              <a:ext cx="3600000" cy="324000"/>
            </a:xfrm>
            <a:prstGeom prst="rect">
              <a:avLst/>
            </a:prstGeom>
            <a:solidFill>
              <a:srgbClr val="0037FF"/>
            </a:solidFill>
            <a:ln w="12700" cap="flat">
              <a:solidFill>
                <a:srgbClr val="0034F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Solution Architect (SA) 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274565F-E9EC-6EA6-49C5-2DBA6BC3FBE6}"/>
                </a:ext>
              </a:extLst>
            </p:cNvPr>
            <p:cNvSpPr/>
            <p:nvPr/>
          </p:nvSpPr>
          <p:spPr>
            <a:xfrm>
              <a:off x="4295796" y="1192758"/>
              <a:ext cx="3600000" cy="4860000"/>
            </a:xfrm>
            <a:prstGeom prst="rect">
              <a:avLst/>
            </a:prstGeom>
            <a:noFill/>
            <a:ln w="9525" cap="flat">
              <a:solidFill>
                <a:srgbClr val="080808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32039C3-9A67-E7B1-9B6A-E9104A59CA0A}"/>
                </a:ext>
              </a:extLst>
            </p:cNvPr>
            <p:cNvSpPr txBox="1"/>
            <p:nvPr/>
          </p:nvSpPr>
          <p:spPr>
            <a:xfrm>
              <a:off x="4475796" y="2616979"/>
              <a:ext cx="3240000" cy="8617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Integrates DevOps processes with organizational needs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lang="en-US" sz="1100" dirty="0">
                  <a:solidFill>
                    <a:srgbClr val="080808"/>
                  </a:solidFill>
                  <a:latin typeface="Gilroy Light" panose="00000400000000000000" charset="0"/>
                </a:rPr>
                <a:t>Determines the best solution using DevOps methods during technology transitions (e.g., cloud migration)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Anticipates technological risks in DevOps processes and defines appropriate solutions.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3F2FE50-72A8-A76B-759F-B7FE543CCC26}"/>
                </a:ext>
              </a:extLst>
            </p:cNvPr>
            <p:cNvSpPr txBox="1"/>
            <p:nvPr/>
          </p:nvSpPr>
          <p:spPr>
            <a:xfrm>
              <a:off x="4475796" y="4129035"/>
              <a:ext cx="2328690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 b="1">
                  <a:solidFill>
                    <a:srgbClr val="0037FF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Daily Use Cas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3E439E-25C6-1DAA-BB5A-3A7BD9913A89}"/>
                </a:ext>
              </a:extLst>
            </p:cNvPr>
            <p:cNvSpPr/>
            <p:nvPr/>
          </p:nvSpPr>
          <p:spPr>
            <a:xfrm>
              <a:off x="382810" y="823658"/>
              <a:ext cx="3600000" cy="324000"/>
            </a:xfrm>
            <a:prstGeom prst="rect">
              <a:avLst/>
            </a:prstGeom>
            <a:solidFill>
              <a:srgbClr val="0037FF"/>
            </a:solidFill>
            <a:ln w="12700" cap="flat">
              <a:solidFill>
                <a:srgbClr val="0034F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Enterprise Architect (EA)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623705B-89F3-63BB-5081-20B51878FAD6}"/>
                </a:ext>
              </a:extLst>
            </p:cNvPr>
            <p:cNvSpPr/>
            <p:nvPr/>
          </p:nvSpPr>
          <p:spPr>
            <a:xfrm>
              <a:off x="382810" y="1192758"/>
              <a:ext cx="3600000" cy="4860000"/>
            </a:xfrm>
            <a:prstGeom prst="rect">
              <a:avLst/>
            </a:prstGeom>
            <a:noFill/>
            <a:ln w="9525" cap="flat">
              <a:solidFill>
                <a:srgbClr val="080808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1847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BC6C3B1-6092-AD3E-546B-6A71179F6BE2}"/>
                </a:ext>
              </a:extLst>
            </p:cNvPr>
            <p:cNvSpPr txBox="1"/>
            <p:nvPr/>
          </p:nvSpPr>
          <p:spPr>
            <a:xfrm>
              <a:off x="562810" y="2616979"/>
              <a:ext cx="3240000" cy="10156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Ensures alignment of DevOps with organizational strategy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lang="en-US" sz="1100" dirty="0">
                  <a:solidFill>
                    <a:srgbClr val="080808"/>
                  </a:solidFill>
                  <a:latin typeface="Gilroy Light" panose="00000400000000000000" charset="0"/>
                </a:rPr>
                <a:t>Identifies operational gaps that need improvement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Aligns DevOps strategies with business units and directs organizational change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lang="en-US" sz="1100" dirty="0">
                  <a:solidFill>
                    <a:srgbClr val="080808"/>
                  </a:solidFill>
                  <a:latin typeface="Gilroy Light" panose="00000400000000000000" charset="0"/>
                </a:rPr>
                <a:t>Communicates the potential of DevOps to create business value and stays in contact with stakeholders.</a:t>
              </a:r>
              <a:endParaRPr kumimoji="0" lang="en-US" sz="1100" b="0" i="0" u="none" strike="noStrike" cap="none" spc="0" normalizeH="0" baseline="0" dirty="0">
                <a:ln>
                  <a:noFill/>
                </a:ln>
                <a:solidFill>
                  <a:srgbClr val="080808"/>
                </a:solidFill>
                <a:effectLst/>
                <a:uFillTx/>
                <a:latin typeface="Gilroy Light" panose="00000400000000000000" charset="0"/>
                <a:sym typeface="Helvetica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F979B51-824B-8DA8-16CA-76CE0175EF02}"/>
                </a:ext>
              </a:extLst>
            </p:cNvPr>
            <p:cNvSpPr txBox="1"/>
            <p:nvPr/>
          </p:nvSpPr>
          <p:spPr>
            <a:xfrm>
              <a:off x="562810" y="4129035"/>
              <a:ext cx="2328690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>
                  <a:solidFill>
                    <a:srgbClr val="0037FF"/>
                  </a:solidFill>
                </a:defRPr>
              </a:lvl1pPr>
            </a:lstStyle>
            <a:p>
              <a:r>
                <a:rPr lang="en-US" b="1" dirty="0">
                  <a:latin typeface="Gilroy Light" panose="00000400000000000000" pitchFamily="50" charset="0"/>
                </a:rPr>
                <a:t>Daily Use Case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9ABF682-4012-9258-E35C-4E3C1CA8423B}"/>
                </a:ext>
              </a:extLst>
            </p:cNvPr>
            <p:cNvGrpSpPr/>
            <p:nvPr/>
          </p:nvGrpSpPr>
          <p:grpSpPr>
            <a:xfrm>
              <a:off x="516468" y="4448603"/>
              <a:ext cx="3332684" cy="1407826"/>
              <a:chOff x="513600" y="4477787"/>
              <a:chExt cx="3332684" cy="1407826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E2A7978-1BCF-BF89-61CE-C8011588E4C0}"/>
                  </a:ext>
                </a:extLst>
              </p:cNvPr>
              <p:cNvSpPr/>
              <p:nvPr/>
            </p:nvSpPr>
            <p:spPr>
              <a:xfrm>
                <a:off x="513600" y="4485114"/>
                <a:ext cx="1620000" cy="432000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endParaRPr lang="en-US" dirty="0">
                  <a:latin typeface="Gilroy"/>
                  <a:cs typeface="Helvetica"/>
                </a:endParaRPr>
              </a:p>
            </p:txBody>
          </p:sp>
          <p:pic>
            <p:nvPicPr>
              <p:cNvPr id="33" name="Graphic 32" descr="Arrow circle outline">
                <a:extLst>
                  <a:ext uri="{FF2B5EF4-FFF2-40B4-BE49-F238E27FC236}">
                    <a16:creationId xmlns:a16="http://schemas.microsoft.com/office/drawing/2014/main" id="{34E54B9C-A970-96AA-7F3E-1DADC00393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3805" y="4482672"/>
                <a:ext cx="432000" cy="432000"/>
              </a:xfrm>
              <a:prstGeom prst="rect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B52610F-B48B-1DCE-DE28-252968F5E80B}"/>
                  </a:ext>
                </a:extLst>
              </p:cNvPr>
              <p:cNvSpPr txBox="1"/>
              <p:nvPr/>
            </p:nvSpPr>
            <p:spPr>
              <a:xfrm>
                <a:off x="1064993" y="4567868"/>
                <a:ext cx="1084444" cy="2616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b="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Lifecycle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ACDF578-C41A-9FAD-96E4-FCA108FDAF31}"/>
                  </a:ext>
                </a:extLst>
              </p:cNvPr>
              <p:cNvSpPr/>
              <p:nvPr/>
            </p:nvSpPr>
            <p:spPr>
              <a:xfrm>
                <a:off x="2226284" y="4485114"/>
                <a:ext cx="1620000" cy="432000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endParaRPr lang="en-US" dirty="0">
                  <a:latin typeface="Gilroy"/>
                  <a:cs typeface="Helvetica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0187C49-FB4D-BAFB-75F8-D91BBB5D17B0}"/>
                  </a:ext>
                </a:extLst>
              </p:cNvPr>
              <p:cNvSpPr txBox="1"/>
              <p:nvPr/>
            </p:nvSpPr>
            <p:spPr>
              <a:xfrm>
                <a:off x="2700554" y="4477787"/>
                <a:ext cx="1077940" cy="43088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>
                  <a:defRPr sz="1100">
                    <a:solidFill>
                      <a:srgbClr val="000000"/>
                    </a:solidFill>
                    <a:latin typeface="Gilroy Light" panose="00000400000000000000" pitchFamily="50" charset="0"/>
                  </a:defRPr>
                </a:lvl1pPr>
              </a:lstStyle>
              <a:p>
                <a:r>
                  <a:rPr lang="en-US" dirty="0"/>
                  <a:t>Interface </a:t>
                </a:r>
                <a:br>
                  <a:rPr lang="tr-TR" dirty="0"/>
                </a:br>
                <a:r>
                  <a:rPr lang="en-US" dirty="0"/>
                  <a:t>Circle Map</a:t>
                </a:r>
              </a:p>
            </p:txBody>
          </p:sp>
          <p:pic>
            <p:nvPicPr>
              <p:cNvPr id="39" name="Graphic 38" descr="Map with pin outline">
                <a:extLst>
                  <a:ext uri="{FF2B5EF4-FFF2-40B4-BE49-F238E27FC236}">
                    <a16:creationId xmlns:a16="http://schemas.microsoft.com/office/drawing/2014/main" id="{FC60F256-1FE3-568E-839B-CBB5FCCCF7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303298" y="4525576"/>
                <a:ext cx="360000" cy="360000"/>
              </a:xfrm>
              <a:prstGeom prst="rect">
                <a:avLst/>
              </a:prstGeom>
            </p:spPr>
          </p:pic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C1C0E47-7AD9-ABDE-561D-459FA9F6ECD2}"/>
                  </a:ext>
                </a:extLst>
              </p:cNvPr>
              <p:cNvSpPr txBox="1"/>
              <p:nvPr/>
            </p:nvSpPr>
            <p:spPr>
              <a:xfrm>
                <a:off x="513600" y="5023841"/>
                <a:ext cx="1620000" cy="861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000" dirty="0"/>
                  <a:t>Optimizes the DevOps lifecycle by removing unnecessary components from the technology stack.</a:t>
                </a:r>
                <a:endParaRPr kumimoji="0" lang="en-US" sz="10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pitchFamily="50" charset="0"/>
                  <a:sym typeface="Helvetica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F5ED714F-DCFE-6F05-10E0-688E988A04D9}"/>
                  </a:ext>
                </a:extLst>
              </p:cNvPr>
              <p:cNvSpPr txBox="1"/>
              <p:nvPr/>
            </p:nvSpPr>
            <p:spPr>
              <a:xfrm>
                <a:off x="2226284" y="5020773"/>
                <a:ext cx="1620000" cy="55399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>
                  <a:defRPr sz="1000">
                    <a:solidFill>
                      <a:srgbClr val="080808"/>
                    </a:solidFill>
                    <a:latin typeface="Gilroy Light" panose="00000400000000000000" pitchFamily="50" charset="0"/>
                  </a:defRPr>
                </a:lvl1pPr>
              </a:lstStyle>
              <a:p>
                <a:r>
                  <a:rPr lang="en-US" dirty="0"/>
                  <a:t>Analyzes data dependencies in DevOps processes and mitigates risks.</a:t>
                </a:r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6924385-6514-844E-E5A8-7D89EBCF7F41}"/>
                </a:ext>
              </a:extLst>
            </p:cNvPr>
            <p:cNvSpPr/>
            <p:nvPr/>
          </p:nvSpPr>
          <p:spPr>
            <a:xfrm>
              <a:off x="8208782" y="823658"/>
              <a:ext cx="3600000" cy="324000"/>
            </a:xfrm>
            <a:prstGeom prst="rect">
              <a:avLst/>
            </a:prstGeom>
            <a:solidFill>
              <a:srgbClr val="0037FF"/>
            </a:solidFill>
            <a:ln w="12700" cap="flat">
              <a:solidFill>
                <a:srgbClr val="0034F0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Technical Architect (TA)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F4B4316-949F-0EA6-BE44-D9093F96005E}"/>
                </a:ext>
              </a:extLst>
            </p:cNvPr>
            <p:cNvSpPr txBox="1"/>
            <p:nvPr/>
          </p:nvSpPr>
          <p:spPr>
            <a:xfrm>
              <a:off x="8388782" y="2616979"/>
              <a:ext cx="3240000" cy="13234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lang="en-US" sz="1100" dirty="0">
                  <a:solidFill>
                    <a:srgbClr val="080808"/>
                  </a:solidFill>
                  <a:latin typeface="Gilroy Light" panose="00000400000000000000" charset="0"/>
                </a:rPr>
                <a:t>Specializes in implementing DevOps tools (e.g., Jenkins, Kubernetes, AWS)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Recommends technical solutions to accelerate and secure DevOps processes.</a:t>
              </a:r>
            </a:p>
            <a:p>
              <a:pPr marL="171450" marR="0" indent="-17145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charset="0"/>
                  <a:sym typeface="Helvetica"/>
                </a:rPr>
                <a:t>Takes technical steps to ensure timely delivery and optimize DevOps processes.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C5C31B5-7B68-9490-2165-EEEDE9C479E3}"/>
                </a:ext>
              </a:extLst>
            </p:cNvPr>
            <p:cNvSpPr txBox="1"/>
            <p:nvPr/>
          </p:nvSpPr>
          <p:spPr>
            <a:xfrm>
              <a:off x="8388782" y="4129035"/>
              <a:ext cx="2328690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 b="1">
                  <a:solidFill>
                    <a:srgbClr val="0037FF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Daily Use Case</a:t>
              </a: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6591BD0A-EAF8-1FD4-203B-E75522A32256}"/>
                </a:ext>
              </a:extLst>
            </p:cNvPr>
            <p:cNvCxnSpPr>
              <a:cxnSpLocks/>
            </p:cNvCxnSpPr>
            <p:nvPr/>
          </p:nvCxnSpPr>
          <p:spPr>
            <a:xfrm>
              <a:off x="1294390" y="5977688"/>
              <a:ext cx="0" cy="325120"/>
            </a:xfrm>
            <a:prstGeom prst="straightConnector1">
              <a:avLst/>
            </a:prstGeom>
            <a:noFill/>
            <a:ln w="38100" cap="flat">
              <a:solidFill>
                <a:srgbClr val="0037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37622045-9596-CB47-0C03-8FDD6E13231C}"/>
                </a:ext>
              </a:extLst>
            </p:cNvPr>
            <p:cNvCxnSpPr>
              <a:cxnSpLocks/>
            </p:cNvCxnSpPr>
            <p:nvPr/>
          </p:nvCxnSpPr>
          <p:spPr>
            <a:xfrm>
              <a:off x="5406555" y="5977688"/>
              <a:ext cx="0" cy="325120"/>
            </a:xfrm>
            <a:prstGeom prst="straightConnector1">
              <a:avLst/>
            </a:prstGeom>
            <a:noFill/>
            <a:ln w="38100" cap="flat">
              <a:solidFill>
                <a:srgbClr val="0037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BF918C1E-D39F-D2C6-9C0E-3CDDE107ACFD}"/>
                </a:ext>
              </a:extLst>
            </p:cNvPr>
            <p:cNvCxnSpPr>
              <a:cxnSpLocks/>
            </p:cNvCxnSpPr>
            <p:nvPr/>
          </p:nvCxnSpPr>
          <p:spPr>
            <a:xfrm>
              <a:off x="7070156" y="5977688"/>
              <a:ext cx="0" cy="325120"/>
            </a:xfrm>
            <a:prstGeom prst="straightConnector1">
              <a:avLst/>
            </a:prstGeom>
            <a:noFill/>
            <a:ln w="38100" cap="flat">
              <a:solidFill>
                <a:srgbClr val="0037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674589EE-8F93-7842-A65D-E22AFFA9DC35}"/>
                </a:ext>
              </a:extLst>
            </p:cNvPr>
            <p:cNvCxnSpPr>
              <a:cxnSpLocks/>
            </p:cNvCxnSpPr>
            <p:nvPr/>
          </p:nvCxnSpPr>
          <p:spPr>
            <a:xfrm>
              <a:off x="10732129" y="5977688"/>
              <a:ext cx="0" cy="325120"/>
            </a:xfrm>
            <a:prstGeom prst="straightConnector1">
              <a:avLst/>
            </a:prstGeom>
            <a:noFill/>
            <a:ln w="38100" cap="flat">
              <a:solidFill>
                <a:srgbClr val="0037FF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A29E526-CC58-8E91-2666-683632622150}"/>
                </a:ext>
              </a:extLst>
            </p:cNvPr>
            <p:cNvSpPr txBox="1"/>
            <p:nvPr/>
          </p:nvSpPr>
          <p:spPr>
            <a:xfrm>
              <a:off x="492531" y="6289065"/>
              <a:ext cx="5504256" cy="216000"/>
            </a:xfrm>
            <a:prstGeom prst="rect">
              <a:avLst/>
            </a:prstGeom>
            <a:solidFill>
              <a:srgbClr val="0037FF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100" b="1" dirty="0">
                  <a:solidFill>
                    <a:schemeClr val="bg1"/>
                  </a:solidFill>
                  <a:latin typeface="Gilroy Light" panose="00000400000000000000" pitchFamily="50" charset="0"/>
                </a:rPr>
                <a:t>Integration Between Enterprise and Solution Architectur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68BE092-239A-C608-5FFE-E013260E3BA8}"/>
                </a:ext>
              </a:extLst>
            </p:cNvPr>
            <p:cNvSpPr txBox="1"/>
            <p:nvPr/>
          </p:nvSpPr>
          <p:spPr>
            <a:xfrm>
              <a:off x="6142729" y="6289065"/>
              <a:ext cx="5504256" cy="216000"/>
            </a:xfrm>
            <a:prstGeom prst="rect">
              <a:avLst/>
            </a:prstGeom>
            <a:solidFill>
              <a:srgbClr val="0037FF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indent="0" algn="ctr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100" b="1" dirty="0">
                  <a:solidFill>
                    <a:schemeClr val="bg1"/>
                  </a:solidFill>
                  <a:latin typeface="Gilroy Light" panose="00000400000000000000" pitchFamily="50" charset="0"/>
                </a:rPr>
                <a:t>Integration Between Solution and Technical Architectur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86AB7CA-64C5-0572-73BB-B99DD5FF1630}"/>
                </a:ext>
              </a:extLst>
            </p:cNvPr>
            <p:cNvSpPr txBox="1"/>
            <p:nvPr/>
          </p:nvSpPr>
          <p:spPr>
            <a:xfrm>
              <a:off x="562810" y="2314241"/>
              <a:ext cx="1700273" cy="2769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 b="1">
                  <a:solidFill>
                    <a:srgbClr val="0037FF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 Key Competencie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BB1D86-4E82-D7AC-7F40-AD0E9BA96C4D}"/>
                </a:ext>
              </a:extLst>
            </p:cNvPr>
            <p:cNvSpPr txBox="1"/>
            <p:nvPr/>
          </p:nvSpPr>
          <p:spPr>
            <a:xfrm>
              <a:off x="4475796" y="2314241"/>
              <a:ext cx="1700273" cy="2769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 b="1">
                  <a:solidFill>
                    <a:srgbClr val="0037FF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 Key Competencie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9876C25-0CF7-E540-824B-257D13A9271C}"/>
                </a:ext>
              </a:extLst>
            </p:cNvPr>
            <p:cNvSpPr txBox="1"/>
            <p:nvPr/>
          </p:nvSpPr>
          <p:spPr>
            <a:xfrm>
              <a:off x="8388782" y="2314241"/>
              <a:ext cx="1700273" cy="2769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200" b="1">
                  <a:solidFill>
                    <a:srgbClr val="0037FF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 Key Competencies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BF56EF9-2AE0-2AD1-E049-528A6C31A402}"/>
                </a:ext>
              </a:extLst>
            </p:cNvPr>
            <p:cNvGrpSpPr/>
            <p:nvPr/>
          </p:nvGrpSpPr>
          <p:grpSpPr>
            <a:xfrm>
              <a:off x="799302" y="1273285"/>
              <a:ext cx="2767016" cy="865301"/>
              <a:chOff x="782899" y="1302469"/>
              <a:chExt cx="2767016" cy="865301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D304E3B-040C-9AF1-C1D6-848113B86B8F}"/>
                  </a:ext>
                </a:extLst>
              </p:cNvPr>
              <p:cNvSpPr txBox="1"/>
              <p:nvPr/>
            </p:nvSpPr>
            <p:spPr>
              <a:xfrm>
                <a:off x="782899" y="1302469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Technology Focus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3308BDC3-4A6F-39F1-090B-C34A6DA3C431}"/>
                  </a:ext>
                </a:extLst>
              </p:cNvPr>
              <p:cNvSpPr txBox="1"/>
              <p:nvPr/>
            </p:nvSpPr>
            <p:spPr>
              <a:xfrm>
                <a:off x="782899" y="1761577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Strategy Focus</a:t>
                </a:r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3340FBFC-F05F-D8E7-3FEF-4653FCFD2683}"/>
                  </a:ext>
                </a:extLst>
              </p:cNvPr>
              <p:cNvSpPr/>
              <p:nvPr/>
            </p:nvSpPr>
            <p:spPr>
              <a:xfrm>
                <a:off x="782899" y="1610856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62886F55-318C-674F-EF0C-31E027B01267}"/>
                  </a:ext>
                </a:extLst>
              </p:cNvPr>
              <p:cNvSpPr/>
              <p:nvPr/>
            </p:nvSpPr>
            <p:spPr>
              <a:xfrm>
                <a:off x="782900" y="1562796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1847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90AF19F9-5852-76DF-775C-DCD4B08F26F1}"/>
                  </a:ext>
                </a:extLst>
              </p:cNvPr>
              <p:cNvSpPr/>
              <p:nvPr/>
            </p:nvSpPr>
            <p:spPr>
              <a:xfrm>
                <a:off x="782899" y="2050807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EB98BF96-4D4B-B5C9-5277-7B2FDA15AE6E}"/>
                  </a:ext>
                </a:extLst>
              </p:cNvPr>
              <p:cNvSpPr/>
              <p:nvPr/>
            </p:nvSpPr>
            <p:spPr>
              <a:xfrm>
                <a:off x="3387990" y="2005845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068E3824-23C0-2184-021E-9873CFE4054C}"/>
                </a:ext>
              </a:extLst>
            </p:cNvPr>
            <p:cNvGrpSpPr/>
            <p:nvPr/>
          </p:nvGrpSpPr>
          <p:grpSpPr>
            <a:xfrm>
              <a:off x="4712288" y="1273285"/>
              <a:ext cx="2767016" cy="865301"/>
              <a:chOff x="782899" y="1302469"/>
              <a:chExt cx="2767016" cy="865301"/>
            </a:xfrm>
          </p:grpSpPr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142C00AA-6B1A-4095-7DA6-AB4357A74814}"/>
                  </a:ext>
                </a:extLst>
              </p:cNvPr>
              <p:cNvSpPr txBox="1"/>
              <p:nvPr/>
            </p:nvSpPr>
            <p:spPr>
              <a:xfrm>
                <a:off x="782899" y="1302469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Technology Focus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12FED2FB-1535-0CD5-ED3E-016AAA469617}"/>
                  </a:ext>
                </a:extLst>
              </p:cNvPr>
              <p:cNvSpPr txBox="1"/>
              <p:nvPr/>
            </p:nvSpPr>
            <p:spPr>
              <a:xfrm>
                <a:off x="782899" y="1761577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Strategy Focus</a:t>
                </a:r>
              </a:p>
            </p:txBody>
          </p:sp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4A049E61-C16D-CBD7-5E23-B059F1D924BC}"/>
                  </a:ext>
                </a:extLst>
              </p:cNvPr>
              <p:cNvSpPr/>
              <p:nvPr/>
            </p:nvSpPr>
            <p:spPr>
              <a:xfrm>
                <a:off x="782899" y="1610856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C55D28FB-5956-B75D-FBAC-DB0E33BC711C}"/>
                  </a:ext>
                </a:extLst>
              </p:cNvPr>
              <p:cNvSpPr/>
              <p:nvPr/>
            </p:nvSpPr>
            <p:spPr>
              <a:xfrm>
                <a:off x="2085444" y="1562796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1847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sp>
            <p:nvSpPr>
              <p:cNvPr id="86" name="Rectangle: Rounded Corners 85">
                <a:extLst>
                  <a:ext uri="{FF2B5EF4-FFF2-40B4-BE49-F238E27FC236}">
                    <a16:creationId xmlns:a16="http://schemas.microsoft.com/office/drawing/2014/main" id="{8C30A9C4-0BB1-4DC5-081A-7234192B4237}"/>
                  </a:ext>
                </a:extLst>
              </p:cNvPr>
              <p:cNvSpPr/>
              <p:nvPr/>
            </p:nvSpPr>
            <p:spPr>
              <a:xfrm>
                <a:off x="782900" y="2050807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AD57012-28A8-E18C-BDC0-52FE16339F36}"/>
                  </a:ext>
                </a:extLst>
              </p:cNvPr>
              <p:cNvSpPr/>
              <p:nvPr/>
            </p:nvSpPr>
            <p:spPr>
              <a:xfrm>
                <a:off x="2085445" y="2005845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0027D37A-1EE3-2734-35B6-920F7F97129A}"/>
                </a:ext>
              </a:extLst>
            </p:cNvPr>
            <p:cNvGrpSpPr/>
            <p:nvPr/>
          </p:nvGrpSpPr>
          <p:grpSpPr>
            <a:xfrm>
              <a:off x="8625274" y="1273285"/>
              <a:ext cx="2767015" cy="865301"/>
              <a:chOff x="782899" y="1302469"/>
              <a:chExt cx="2767015" cy="865301"/>
            </a:xfrm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4AA16DF8-4E43-A8D4-3737-58C91E7D5845}"/>
                  </a:ext>
                </a:extLst>
              </p:cNvPr>
              <p:cNvSpPr txBox="1"/>
              <p:nvPr/>
            </p:nvSpPr>
            <p:spPr>
              <a:xfrm>
                <a:off x="782899" y="1302469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Technology Focus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0670DB64-9499-9E67-A0CD-8F4D84A34283}"/>
                  </a:ext>
                </a:extLst>
              </p:cNvPr>
              <p:cNvSpPr txBox="1"/>
              <p:nvPr/>
            </p:nvSpPr>
            <p:spPr>
              <a:xfrm>
                <a:off x="782899" y="1761577"/>
                <a:ext cx="2476500" cy="27699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100" i="0" u="none" strike="noStrike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Gilroy Light" panose="00000400000000000000" pitchFamily="50" charset="0"/>
                    <a:sym typeface="Helvetica"/>
                  </a:rPr>
                  <a:t>Strategy Focus</a:t>
                </a:r>
              </a:p>
            </p:txBody>
          </p:sp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C88D9446-91E0-C992-821F-97A9F9714053}"/>
                  </a:ext>
                </a:extLst>
              </p:cNvPr>
              <p:cNvSpPr/>
              <p:nvPr/>
            </p:nvSpPr>
            <p:spPr>
              <a:xfrm>
                <a:off x="782899" y="1610856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CCCF579-11E1-64AB-A91E-D42651212BAF}"/>
                  </a:ext>
                </a:extLst>
              </p:cNvPr>
              <p:cNvSpPr/>
              <p:nvPr/>
            </p:nvSpPr>
            <p:spPr>
              <a:xfrm>
                <a:off x="3387989" y="1562796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1847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8DB2019F-B28A-F0DC-7016-6853B8B3F156}"/>
                  </a:ext>
                </a:extLst>
              </p:cNvPr>
              <p:cNvSpPr/>
              <p:nvPr/>
            </p:nvSpPr>
            <p:spPr>
              <a:xfrm>
                <a:off x="782899" y="2050807"/>
                <a:ext cx="2767015" cy="7200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  <a:alpha val="50000"/>
                </a:schemeClr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txBody>
              <a:bodyPr rot="0" spcFirstLastPara="1" vert="horz" wrap="square" lIns="45719" tIns="45719" rIns="45719" bIns="45719" numCol="1" spcCol="38100" rtlCol="0" anchor="ctr">
                <a:no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1pPr>
                <a:lvl2pPr marL="0" marR="0" indent="45716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2pPr>
                <a:lvl3pPr marL="0" marR="0" indent="91433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3pPr>
                <a:lvl4pPr marL="0" marR="0" indent="1371494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4pPr>
                <a:lvl5pPr marL="0" marR="0" indent="182866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5pPr>
                <a:lvl6pPr marL="0" marR="0" indent="228582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6pPr>
                <a:lvl7pPr marL="0" marR="0" indent="2742989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7pPr>
                <a:lvl8pPr marL="0" marR="0" indent="3200155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8pPr>
                <a:lvl9pPr marL="0" marR="0" indent="3657320" algn="l" defTabSz="91433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1847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"/>
                  </a:defRPr>
                </a:lvl9pPr>
              </a:lstStyle>
              <a:p>
                <a:pPr marL="0" marR="0" lvl="0" indent="0" algn="l" defTabSz="91433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1847"/>
                  </a:solidFill>
                  <a:effectLst/>
                  <a:uLnTx/>
                  <a:uFillTx/>
                  <a:cs typeface="Helvetica"/>
                  <a:sym typeface="Helvetica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9C9B499-6835-95E3-56E4-A28E89602B6F}"/>
                  </a:ext>
                </a:extLst>
              </p:cNvPr>
              <p:cNvSpPr/>
              <p:nvPr/>
            </p:nvSpPr>
            <p:spPr>
              <a:xfrm>
                <a:off x="782899" y="2005845"/>
                <a:ext cx="161925" cy="161925"/>
              </a:xfrm>
              <a:prstGeom prst="ellipse">
                <a:avLst/>
              </a:prstGeom>
              <a:solidFill>
                <a:srgbClr val="0037FF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F2C92F-2E85-1BB1-34B8-48D774EEBC53}"/>
                </a:ext>
              </a:extLst>
            </p:cNvPr>
            <p:cNvSpPr/>
            <p:nvPr/>
          </p:nvSpPr>
          <p:spPr>
            <a:xfrm>
              <a:off x="4429454" y="4455930"/>
              <a:ext cx="1620000" cy="432000"/>
            </a:xfrm>
            <a:prstGeom prst="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endParaRPr lang="en-US" dirty="0">
                <a:latin typeface="Gilroy"/>
                <a:cs typeface="Helvetica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D1130BC-42C8-E71E-1DB6-A01CC3CC1D75}"/>
                </a:ext>
              </a:extLst>
            </p:cNvPr>
            <p:cNvSpPr txBox="1"/>
            <p:nvPr/>
          </p:nvSpPr>
          <p:spPr>
            <a:xfrm>
              <a:off x="4980847" y="4454046"/>
              <a:ext cx="1084444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Gilroy Light" panose="00000400000000000000" pitchFamily="50" charset="0"/>
                  <a:sym typeface="Helvetica"/>
                </a:rPr>
                <a:t>Functional vs. Technical Fit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F209F0-FFA6-2B04-C070-2B0AEF689657}"/>
                </a:ext>
              </a:extLst>
            </p:cNvPr>
            <p:cNvSpPr/>
            <p:nvPr/>
          </p:nvSpPr>
          <p:spPr>
            <a:xfrm>
              <a:off x="6142138" y="4455930"/>
              <a:ext cx="1620000" cy="432000"/>
            </a:xfrm>
            <a:prstGeom prst="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endParaRPr lang="en-US" dirty="0">
                <a:latin typeface="Gilroy"/>
                <a:cs typeface="Helvetica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2E6C6A7-BB8D-3204-DB7F-D5479A3C555C}"/>
                </a:ext>
              </a:extLst>
            </p:cNvPr>
            <p:cNvSpPr txBox="1"/>
            <p:nvPr/>
          </p:nvSpPr>
          <p:spPr>
            <a:xfrm>
              <a:off x="6616408" y="4448603"/>
              <a:ext cx="1077940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100">
                  <a:solidFill>
                    <a:srgbClr val="000000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Drilldown: Successo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4F4068C-FC78-56E3-9A6D-54BCC8C986E1}"/>
                </a:ext>
              </a:extLst>
            </p:cNvPr>
            <p:cNvSpPr txBox="1"/>
            <p:nvPr/>
          </p:nvSpPr>
          <p:spPr>
            <a:xfrm>
              <a:off x="4429454" y="4994657"/>
              <a:ext cx="1620000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pitchFamily="50" charset="0"/>
                  <a:sym typeface="Helvetica"/>
                </a:rPr>
                <a:t>Plans DevOps processes according to transformation projects such as cloud migration or external audits.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06B50BE-1F66-3581-4A75-24170D664D7D}"/>
                </a:ext>
              </a:extLst>
            </p:cNvPr>
            <p:cNvSpPr txBox="1"/>
            <p:nvPr/>
          </p:nvSpPr>
          <p:spPr>
            <a:xfrm>
              <a:off x="6142138" y="4991589"/>
              <a:ext cx="1620000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000">
                  <a:solidFill>
                    <a:srgbClr val="080808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Evaluates DevOps’s functional alignment and technical risks according to business needs.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D7004F-C3F8-891A-E9DF-CDAFADE9207D}"/>
                </a:ext>
              </a:extLst>
            </p:cNvPr>
            <p:cNvSpPr/>
            <p:nvPr/>
          </p:nvSpPr>
          <p:spPr>
            <a:xfrm>
              <a:off x="8342440" y="4455930"/>
              <a:ext cx="1620000" cy="432000"/>
            </a:xfrm>
            <a:prstGeom prst="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endParaRPr lang="en-US" dirty="0">
                <a:latin typeface="Gilroy"/>
                <a:cs typeface="Helvetica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3C2FED-8032-C455-CBAF-6516C438C3C6}"/>
                </a:ext>
              </a:extLst>
            </p:cNvPr>
            <p:cNvSpPr txBox="1"/>
            <p:nvPr/>
          </p:nvSpPr>
          <p:spPr>
            <a:xfrm>
              <a:off x="8893833" y="4538684"/>
              <a:ext cx="1084444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Gilroy Light" panose="00000400000000000000" pitchFamily="50" charset="0"/>
                  <a:sym typeface="Helvetica"/>
                </a:rPr>
                <a:t>Availability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68A97E6-48A0-851E-8A8D-454BAFC0FB63}"/>
                </a:ext>
              </a:extLst>
            </p:cNvPr>
            <p:cNvSpPr/>
            <p:nvPr/>
          </p:nvSpPr>
          <p:spPr>
            <a:xfrm>
              <a:off x="10055124" y="4455930"/>
              <a:ext cx="1620000" cy="432000"/>
            </a:xfrm>
            <a:prstGeom prst="rect">
              <a:avLst/>
            </a:prstGeom>
            <a:solidFill>
              <a:schemeClr val="bg1">
                <a:lumMod val="95000"/>
                <a:alpha val="80000"/>
              </a:schemeClr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endParaRPr lang="en-US" dirty="0">
                <a:latin typeface="Gilroy"/>
                <a:cs typeface="Helvetica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DF39607-AB6A-F7B6-8534-22F429AA1271}"/>
                </a:ext>
              </a:extLst>
            </p:cNvPr>
            <p:cNvSpPr txBox="1"/>
            <p:nvPr/>
          </p:nvSpPr>
          <p:spPr>
            <a:xfrm>
              <a:off x="10529394" y="4533241"/>
              <a:ext cx="1077940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100">
                  <a:solidFill>
                    <a:srgbClr val="000000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tr-TR" dirty="0"/>
                <a:t>Tech Explorer</a:t>
              </a:r>
              <a:endParaRPr lang="en-US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1640EE-8B0A-CC38-8426-80BB0C2EEE21}"/>
                </a:ext>
              </a:extLst>
            </p:cNvPr>
            <p:cNvSpPr txBox="1"/>
            <p:nvPr/>
          </p:nvSpPr>
          <p:spPr>
            <a:xfrm>
              <a:off x="8342440" y="4994657"/>
              <a:ext cx="1656000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33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spc="0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uFillTx/>
                  <a:latin typeface="Gilroy Light" panose="00000400000000000000" pitchFamily="50" charset="0"/>
                  <a:sym typeface="Helvetica"/>
                </a:rPr>
                <a:t>Monitors DevOps containers, accelerating release cycles and proactively addressing issues.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DDECD99-051B-C0DF-EC84-1D2D46D32D7D}"/>
                </a:ext>
              </a:extLst>
            </p:cNvPr>
            <p:cNvSpPr txBox="1"/>
            <p:nvPr/>
          </p:nvSpPr>
          <p:spPr>
            <a:xfrm>
              <a:off x="10055124" y="4991589"/>
              <a:ext cx="1620000" cy="8617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000">
                  <a:solidFill>
                    <a:srgbClr val="080808"/>
                  </a:solidFill>
                  <a:latin typeface="Gilroy Light" panose="00000400000000000000" pitchFamily="50" charset="0"/>
                </a:defRPr>
              </a:lvl1pPr>
            </a:lstStyle>
            <a:p>
              <a:r>
                <a:rPr lang="en-US" dirty="0"/>
                <a:t>Creates processes for rapid development, personalization, and alignment across DevOps solutions.</a:t>
              </a:r>
            </a:p>
          </p:txBody>
        </p:sp>
        <p:pic>
          <p:nvPicPr>
            <p:cNvPr id="14" name="Graphic 13" descr="Clipboard Checked outline">
              <a:extLst>
                <a:ext uri="{FF2B5EF4-FFF2-40B4-BE49-F238E27FC236}">
                  <a16:creationId xmlns:a16="http://schemas.microsoft.com/office/drawing/2014/main" id="{479ADC7D-7F9F-18CC-2A43-28B66EFFFC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09659" y="4453488"/>
              <a:ext cx="432000" cy="432000"/>
            </a:xfrm>
            <a:prstGeom prst="rect">
              <a:avLst/>
            </a:prstGeom>
          </p:spPr>
        </p:pic>
        <p:pic>
          <p:nvPicPr>
            <p:cNvPr id="15" name="Graphic 14" descr="Back outline">
              <a:extLst>
                <a:ext uri="{FF2B5EF4-FFF2-40B4-BE49-F238E27FC236}">
                  <a16:creationId xmlns:a16="http://schemas.microsoft.com/office/drawing/2014/main" id="{695712A1-4059-0937-ECC8-8E40560BE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19152" y="4455930"/>
              <a:ext cx="432000" cy="432000"/>
            </a:xfrm>
            <a:prstGeom prst="rect">
              <a:avLst/>
            </a:prstGeom>
          </p:spPr>
        </p:pic>
        <p:pic>
          <p:nvPicPr>
            <p:cNvPr id="16" name="Graphic 15" descr="Information outline">
              <a:extLst>
                <a:ext uri="{FF2B5EF4-FFF2-40B4-BE49-F238E27FC236}">
                  <a16:creationId xmlns:a16="http://schemas.microsoft.com/office/drawing/2014/main" id="{BE3BE292-9C6A-EBEC-ADAA-A3218549F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422645" y="4453488"/>
              <a:ext cx="432000" cy="432000"/>
            </a:xfrm>
            <a:prstGeom prst="rect">
              <a:avLst/>
            </a:prstGeom>
          </p:spPr>
        </p:pic>
        <p:pic>
          <p:nvPicPr>
            <p:cNvPr id="17" name="Graphic 16" descr="Hierarchy outline">
              <a:extLst>
                <a:ext uri="{FF2B5EF4-FFF2-40B4-BE49-F238E27FC236}">
                  <a16:creationId xmlns:a16="http://schemas.microsoft.com/office/drawing/2014/main" id="{D1100AFA-C361-A916-6F06-1F20E9D01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132138" y="4455930"/>
              <a:ext cx="432000" cy="4320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BE2461DC-BE59-DBFC-E75F-A5CE802B80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3386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9CD55-AE13-C65B-17D0-7F4A68A98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3E1F94D-7F85-CF2C-5624-F51CEC5FC9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58014CD3-034E-BE95-A0F2-3508BD9CA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58" y="761999"/>
            <a:ext cx="10650883" cy="563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518263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786E9D11-884F-9086-B66B-69E72E090D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4684" y="4072663"/>
            <a:ext cx="2979408" cy="24111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4F33B3-DA3D-4649-9508-709780B6DA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5843" y="2844840"/>
            <a:ext cx="2151917" cy="140366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20240C-D9AF-4CB0-EA3D-DC5470C89E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1657" y="2690802"/>
            <a:ext cx="3645696" cy="198822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E06D8C0-623C-52E5-361E-76B3CD30CAC7}"/>
              </a:ext>
            </a:extLst>
          </p:cNvPr>
          <p:cNvSpPr txBox="1"/>
          <p:nvPr/>
        </p:nvSpPr>
        <p:spPr>
          <a:xfrm>
            <a:off x="377446" y="644298"/>
            <a:ext cx="52730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Jump KUBERNETES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F9B79F-1610-7409-1E9D-CFEE0F722DD7}"/>
              </a:ext>
            </a:extLst>
          </p:cNvPr>
          <p:cNvSpPr txBox="1"/>
          <p:nvPr/>
        </p:nvSpPr>
        <p:spPr>
          <a:xfrm>
            <a:off x="527538" y="1786573"/>
            <a:ext cx="86281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ilroy LİGHT" panose="00000400000000000000"/>
              </a:rPr>
              <a:t>Kubernetes is an opensource system for automating deployment, scaling and management of containerized applications.</a:t>
            </a:r>
          </a:p>
        </p:txBody>
      </p:sp>
    </p:spTree>
    <p:extLst>
      <p:ext uri="{BB962C8B-B14F-4D97-AF65-F5344CB8AC3E}">
        <p14:creationId xmlns:p14="http://schemas.microsoft.com/office/powerpoint/2010/main" val="145557939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777D8-D875-6FB1-78F8-0CF8DEF45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29F2472-3DE3-A7AF-3D9C-C870879B85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AAAE94-636E-0AFF-C11A-52F6AD48BAA8}"/>
              </a:ext>
            </a:extLst>
          </p:cNvPr>
          <p:cNvSpPr txBox="1"/>
          <p:nvPr/>
        </p:nvSpPr>
        <p:spPr>
          <a:xfrm>
            <a:off x="377446" y="644298"/>
            <a:ext cx="52730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Jump KUBERNETES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FE6D8A-D286-0444-52BA-1636619BF634}"/>
              </a:ext>
            </a:extLst>
          </p:cNvPr>
          <p:cNvSpPr txBox="1"/>
          <p:nvPr/>
        </p:nvSpPr>
        <p:spPr>
          <a:xfrm>
            <a:off x="527538" y="1786573"/>
            <a:ext cx="8628185" cy="5543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effectLst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Containers make applications independent and portable, allowing them to run irrespective of the underlying infrastructure.</a:t>
            </a:r>
          </a:p>
          <a:p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Kubernetes automates the scaling, deployment, and management of these containers.</a:t>
            </a:r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In DevOps processes, speed, flexibility, and portability are crucial. Containers meet these needs, enabling applications to be easily moved between different environments.</a:t>
            </a:r>
          </a:p>
          <a:p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Kubernetes provides a powerful tool for managing a large number of containers, allowing DevOps teams to focus on development and delivery rather than infrastructure management.</a:t>
            </a:r>
          </a:p>
          <a:p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Automated Deployment and Scaling: Automatically deploying applications and scaling them based on demand.</a:t>
            </a:r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Self-Healing: Ensuring service continuity by restarting or replacing faulty containers.</a:t>
            </a:r>
            <a:endParaRPr lang="en-US" sz="1050" dirty="0">
              <a:effectLst/>
              <a:latin typeface="Gilroy Light" panose="0000040000000000000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050" kern="100" dirty="0">
                <a:effectLst/>
                <a:latin typeface="Gilroy Light" panose="00000400000000000000"/>
                <a:ea typeface="Aptos" panose="020B0004020202020204" pitchFamily="34" charset="0"/>
                <a:cs typeface="Times New Roman" panose="02020603050405020304" pitchFamily="18" charset="0"/>
              </a:rPr>
              <a:t>Kubernetes supports automation, which is a cornerstone of DevOps. As a result, applications can be automatically deployed, monitored, and scaled effectively.</a:t>
            </a: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endParaRPr lang="en-US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en-US" sz="2400" dirty="0">
              <a:latin typeface="Gilroy LİGHT" panose="00000400000000000000"/>
            </a:endParaRPr>
          </a:p>
          <a:p>
            <a:endParaRPr lang="en-US" sz="2400" dirty="0">
              <a:latin typeface="Gilroy LİGHT" panose="00000400000000000000"/>
            </a:endParaRPr>
          </a:p>
          <a:p>
            <a:endParaRPr lang="en-US" sz="2400" dirty="0">
              <a:latin typeface="Gilroy LİGHT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37203021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1B73D-EF9F-DB27-EB20-5D64840E35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5F0D28E-E47D-075E-41BD-FABCB6EA33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7CE23FFA-132C-2093-2277-335746C68CB3}"/>
              </a:ext>
            </a:extLst>
          </p:cNvPr>
          <p:cNvSpPr/>
          <p:nvPr/>
        </p:nvSpPr>
        <p:spPr>
          <a:xfrm>
            <a:off x="1371600" y="1343401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Kubernetes from a developer perspective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3B4E1E1-34D7-7DE2-988B-EA50E4CE6AAD}"/>
              </a:ext>
            </a:extLst>
          </p:cNvPr>
          <p:cNvSpPr/>
          <p:nvPr/>
        </p:nvSpPr>
        <p:spPr>
          <a:xfrm>
            <a:off x="1366983" y="2534534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reating Pods</a:t>
            </a:r>
          </a:p>
        </p:txBody>
      </p:sp>
      <p:sp>
        <p:nvSpPr>
          <p:cNvPr id="9" name="Rounded Rectangle 17">
            <a:extLst>
              <a:ext uri="{FF2B5EF4-FFF2-40B4-BE49-F238E27FC236}">
                <a16:creationId xmlns:a16="http://schemas.microsoft.com/office/drawing/2014/main" id="{28A48959-A29C-1DB3-8413-F99CD0F74817}"/>
              </a:ext>
            </a:extLst>
          </p:cNvPr>
          <p:cNvSpPr/>
          <p:nvPr/>
        </p:nvSpPr>
        <p:spPr>
          <a:xfrm>
            <a:off x="1371600" y="3788772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reating Deployments</a:t>
            </a: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9CD3D197-0671-6604-EE26-7EC85CFD7CE9}"/>
              </a:ext>
            </a:extLst>
          </p:cNvPr>
          <p:cNvSpPr/>
          <p:nvPr/>
        </p:nvSpPr>
        <p:spPr>
          <a:xfrm>
            <a:off x="6787661" y="1343401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reating Services</a:t>
            </a: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05D85339-3B21-2923-FC80-1F6E6AA62798}"/>
              </a:ext>
            </a:extLst>
          </p:cNvPr>
          <p:cNvSpPr/>
          <p:nvPr/>
        </p:nvSpPr>
        <p:spPr>
          <a:xfrm>
            <a:off x="6787661" y="2621216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Understandi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Storeg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 Options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8DB8B9CD-D594-6E52-82D7-E39A9B68BD2F}"/>
              </a:ext>
            </a:extLst>
          </p:cNvPr>
          <p:cNvSpPr/>
          <p:nvPr/>
        </p:nvSpPr>
        <p:spPr>
          <a:xfrm>
            <a:off x="6787661" y="3899031"/>
            <a:ext cx="3434862" cy="894466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reating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figMap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 and Secrets</a:t>
            </a:r>
          </a:p>
        </p:txBody>
      </p:sp>
    </p:spTree>
    <p:extLst>
      <p:ext uri="{BB962C8B-B14F-4D97-AF65-F5344CB8AC3E}">
        <p14:creationId xmlns:p14="http://schemas.microsoft.com/office/powerpoint/2010/main" val="1855555849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69516-7ACC-A5B0-D3E8-325656148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CF8ECE5-71A1-8132-4BFD-2A52368BB8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C3ECC0-4C95-ABD2-CD2D-5D0B0B5877AA}"/>
              </a:ext>
            </a:extLst>
          </p:cNvPr>
          <p:cNvSpPr txBox="1"/>
          <p:nvPr/>
        </p:nvSpPr>
        <p:spPr>
          <a:xfrm>
            <a:off x="389169" y="644298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How are you managing Containers?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D7830A02-E3FC-1A4D-6511-7201EC42594A}"/>
              </a:ext>
            </a:extLst>
          </p:cNvPr>
          <p:cNvSpPr/>
          <p:nvPr/>
        </p:nvSpPr>
        <p:spPr>
          <a:xfrm>
            <a:off x="837200" y="4708699"/>
            <a:ext cx="3338723" cy="585673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5CD1ACD-9297-B80E-43E4-6842BD1DC1D7}"/>
              </a:ext>
            </a:extLst>
          </p:cNvPr>
          <p:cNvSpPr/>
          <p:nvPr/>
        </p:nvSpPr>
        <p:spPr>
          <a:xfrm>
            <a:off x="585200" y="4485945"/>
            <a:ext cx="11021600" cy="925261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4980B08A-5455-B8D6-A49C-449833BDAB14}"/>
              </a:ext>
            </a:extLst>
          </p:cNvPr>
          <p:cNvSpPr/>
          <p:nvPr/>
        </p:nvSpPr>
        <p:spPr>
          <a:xfrm>
            <a:off x="4494964" y="4738081"/>
            <a:ext cx="3338723" cy="585673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D8CFD634-51F3-2035-FECD-8ED8D542F1E2}"/>
              </a:ext>
            </a:extLst>
          </p:cNvPr>
          <p:cNvSpPr/>
          <p:nvPr/>
        </p:nvSpPr>
        <p:spPr>
          <a:xfrm>
            <a:off x="8152730" y="4720662"/>
            <a:ext cx="3338723" cy="585673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16CE27C9-6827-F4D5-DF01-0E918BE0F7EF}"/>
              </a:ext>
            </a:extLst>
          </p:cNvPr>
          <p:cNvSpPr/>
          <p:nvPr/>
        </p:nvSpPr>
        <p:spPr>
          <a:xfrm>
            <a:off x="4072769" y="2348331"/>
            <a:ext cx="3760918" cy="1080669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Load Balance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AA4B38-E327-3ECA-9E31-13EA7EFE234E}"/>
              </a:ext>
            </a:extLst>
          </p:cNvPr>
          <p:cNvCxnSpPr>
            <a:cxnSpLocks/>
            <a:stCxn id="14" idx="2"/>
            <a:endCxn id="4" idx="0"/>
          </p:cNvCxnSpPr>
          <p:nvPr/>
        </p:nvCxnSpPr>
        <p:spPr>
          <a:xfrm flipH="1">
            <a:off x="2506562" y="3429000"/>
            <a:ext cx="3446666" cy="127969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C15D113-78B0-1A8E-665B-C30682A48B29}"/>
              </a:ext>
            </a:extLst>
          </p:cNvPr>
          <p:cNvCxnSpPr>
            <a:cxnSpLocks/>
            <a:stCxn id="14" idx="2"/>
            <a:endCxn id="10" idx="0"/>
          </p:cNvCxnSpPr>
          <p:nvPr/>
        </p:nvCxnSpPr>
        <p:spPr>
          <a:xfrm>
            <a:off x="5953228" y="3429000"/>
            <a:ext cx="211098" cy="13090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94660E6-63E7-78D5-B83A-56C8A235AC6B}"/>
              </a:ext>
            </a:extLst>
          </p:cNvPr>
          <p:cNvCxnSpPr>
            <a:cxnSpLocks/>
            <a:stCxn id="14" idx="2"/>
            <a:endCxn id="11" idx="0"/>
          </p:cNvCxnSpPr>
          <p:nvPr/>
        </p:nvCxnSpPr>
        <p:spPr>
          <a:xfrm>
            <a:off x="5953228" y="3429000"/>
            <a:ext cx="3868864" cy="129166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F9B3BC8-C9EA-9BCE-34AF-EC0A06FB2D7B}"/>
              </a:ext>
            </a:extLst>
          </p:cNvPr>
          <p:cNvSpPr/>
          <p:nvPr/>
        </p:nvSpPr>
        <p:spPr>
          <a:xfrm>
            <a:off x="5290127" y="4396470"/>
            <a:ext cx="1645245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400015500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F1C47-9ADD-A725-931F-A1E7F661B3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7E5AB70-E626-DE72-DE4B-7A0EB41A0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79D2E225-F432-54AC-BB9E-258AF371DCE5}"/>
              </a:ext>
            </a:extLst>
          </p:cNvPr>
          <p:cNvSpPr/>
          <p:nvPr/>
        </p:nvSpPr>
        <p:spPr>
          <a:xfrm>
            <a:off x="4493714" y="1451539"/>
            <a:ext cx="3338723" cy="585673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AP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4E113A-C300-AF85-0A2E-3ABC884CE061}"/>
              </a:ext>
            </a:extLst>
          </p:cNvPr>
          <p:cNvSpPr/>
          <p:nvPr/>
        </p:nvSpPr>
        <p:spPr>
          <a:xfrm>
            <a:off x="585200" y="4481200"/>
            <a:ext cx="11021600" cy="925261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DBA9CABC-C7C3-1834-8ABF-92FFB34D2E59}"/>
              </a:ext>
            </a:extLst>
          </p:cNvPr>
          <p:cNvSpPr/>
          <p:nvPr/>
        </p:nvSpPr>
        <p:spPr>
          <a:xfrm>
            <a:off x="4493714" y="3033893"/>
            <a:ext cx="3338723" cy="585673"/>
          </a:xfrm>
          <a:prstGeom prst="roundRect">
            <a:avLst/>
          </a:prstGeom>
          <a:solidFill>
            <a:srgbClr val="0036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API</a:t>
            </a: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B7FC527B-EA67-D392-AEE7-BA6E71A6F688}"/>
              </a:ext>
            </a:extLst>
          </p:cNvPr>
          <p:cNvSpPr/>
          <p:nvPr/>
        </p:nvSpPr>
        <p:spPr>
          <a:xfrm>
            <a:off x="8784628" y="2022504"/>
            <a:ext cx="2961372" cy="1123324"/>
          </a:xfrm>
          <a:prstGeom prst="roundRect">
            <a:avLst/>
          </a:prstGeom>
          <a:solidFill>
            <a:srgbClr val="F94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Database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64B68755-FE7F-5ECC-370C-51997D260304}"/>
              </a:ext>
            </a:extLst>
          </p:cNvPr>
          <p:cNvSpPr/>
          <p:nvPr/>
        </p:nvSpPr>
        <p:spPr>
          <a:xfrm>
            <a:off x="190251" y="2190491"/>
            <a:ext cx="3217123" cy="1080669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ERV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6BE85C6-1D71-C5FE-099F-B59ECD940974}"/>
              </a:ext>
            </a:extLst>
          </p:cNvPr>
          <p:cNvSpPr txBox="1"/>
          <p:nvPr/>
        </p:nvSpPr>
        <p:spPr>
          <a:xfrm>
            <a:off x="2248800" y="4618973"/>
            <a:ext cx="9765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Gilroy LİGHT" panose="00000400000000000000"/>
              </a:rPr>
              <a:t>How do you manage all of these containers?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3EA14DA-4292-B8F7-81D5-EC8DA75C2574}"/>
              </a:ext>
            </a:extLst>
          </p:cNvPr>
          <p:cNvCxnSpPr>
            <a:stCxn id="14" idx="3"/>
            <a:endCxn id="4" idx="1"/>
          </p:cNvCxnSpPr>
          <p:nvPr/>
        </p:nvCxnSpPr>
        <p:spPr>
          <a:xfrm flipV="1">
            <a:off x="3407374" y="1744376"/>
            <a:ext cx="1086340" cy="986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3C6FC2C-59F6-B079-950D-06DE14B8C884}"/>
              </a:ext>
            </a:extLst>
          </p:cNvPr>
          <p:cNvCxnSpPr>
            <a:cxnSpLocks/>
            <a:stCxn id="14" idx="3"/>
            <a:endCxn id="10" idx="1"/>
          </p:cNvCxnSpPr>
          <p:nvPr/>
        </p:nvCxnSpPr>
        <p:spPr>
          <a:xfrm>
            <a:off x="3407374" y="2730826"/>
            <a:ext cx="1086340" cy="5959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489848B-A902-64E3-3B2F-8C4AD2FF439A}"/>
              </a:ext>
            </a:extLst>
          </p:cNvPr>
          <p:cNvCxnSpPr>
            <a:cxnSpLocks/>
            <a:stCxn id="4" idx="3"/>
            <a:endCxn id="11" idx="1"/>
          </p:cNvCxnSpPr>
          <p:nvPr/>
        </p:nvCxnSpPr>
        <p:spPr>
          <a:xfrm>
            <a:off x="7832437" y="1744376"/>
            <a:ext cx="952191" cy="83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A335270-4CD4-FBCE-2268-C42C466BE3AF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 flipV="1">
            <a:off x="7832437" y="2584166"/>
            <a:ext cx="952191" cy="742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985796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097FF-41FE-9837-BD1F-1F14FEBEC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FFC3205-4E02-00AC-2D70-9105C3F42A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BD770A8-0D54-2B45-8AE9-3488BFB0891C}"/>
              </a:ext>
            </a:extLst>
          </p:cNvPr>
          <p:cNvSpPr/>
          <p:nvPr/>
        </p:nvSpPr>
        <p:spPr>
          <a:xfrm>
            <a:off x="3304000" y="3630820"/>
            <a:ext cx="6176280" cy="1995800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45A7B09-C319-4176-AE77-0AFFF78710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4636" y="917459"/>
            <a:ext cx="4477901" cy="230972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FED5352-DDDA-974C-A54F-EA7425F0C93E}"/>
              </a:ext>
            </a:extLst>
          </p:cNvPr>
          <p:cNvSpPr txBox="1"/>
          <p:nvPr/>
        </p:nvSpPr>
        <p:spPr>
          <a:xfrm>
            <a:off x="3384280" y="3782536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dirty="0">
                <a:solidFill>
                  <a:srgbClr val="33444D"/>
                </a:solidFill>
                <a:effectLst/>
              </a:rPr>
              <a:t>Docker Compose is a tool for defining and running multi-container Docker applications. With Compose, you use a YAML file to configure your application’s services. Then, with a single command, you create and start all the services from your configur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637411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1FA9CE-7345-2801-9BDE-85B75821E89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685" b="-1"/>
          <a:stretch/>
        </p:blipFill>
        <p:spPr>
          <a:xfrm>
            <a:off x="20" y="-20444"/>
            <a:ext cx="12191980" cy="68988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629553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E264682-3827-4C9E-A40C-29E77D692A3F}"/>
              </a:ext>
            </a:extLst>
          </p:cNvPr>
          <p:cNvGrpSpPr/>
          <p:nvPr/>
        </p:nvGrpSpPr>
        <p:grpSpPr>
          <a:xfrm>
            <a:off x="390209" y="2000084"/>
            <a:ext cx="6039410" cy="3449725"/>
            <a:chOff x="390209" y="1639676"/>
            <a:chExt cx="6039410" cy="34497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170016B-1FE4-42DB-9A43-3139CCC5E6FE}"/>
                </a:ext>
              </a:extLst>
            </p:cNvPr>
            <p:cNvSpPr txBox="1"/>
            <p:nvPr/>
          </p:nvSpPr>
          <p:spPr>
            <a:xfrm>
              <a:off x="390209" y="3310581"/>
              <a:ext cx="6039410" cy="177882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800" b="1">
                  <a:solidFill>
                    <a:srgbClr val="EA3675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kumimoji="0" lang="tr-TR" sz="48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37FF"/>
                  </a:solidFill>
                  <a:effectLst/>
                  <a:uLnTx/>
                  <a:uFillTx/>
                  <a:latin typeface="Gilroy Light" panose="00000400000000000000" pitchFamily="50" charset="0"/>
                  <a:ea typeface="Gilroy-Bold ☞" charset="0"/>
                  <a:cs typeface="Gilroy-Bold ☞" charset="0"/>
                  <a:sym typeface="Gilroy" panose="00000500000000000000" pitchFamily="50" charset="0"/>
                </a:rPr>
                <a:t>Welcome to </a:t>
              </a:r>
              <a:br>
                <a:rPr kumimoji="0" lang="tr-TR" sz="48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37FF"/>
                  </a:solidFill>
                  <a:effectLst/>
                  <a:uLnTx/>
                  <a:uFillTx/>
                  <a:latin typeface="Gilroy Light" panose="00000400000000000000" pitchFamily="50" charset="0"/>
                  <a:ea typeface="Gilroy-Bold ☞" charset="0"/>
                  <a:cs typeface="Gilroy-Bold ☞" charset="0"/>
                  <a:sym typeface="Gilroy" panose="00000500000000000000" pitchFamily="50" charset="0"/>
                </a:rPr>
              </a:br>
              <a:r>
                <a:rPr kumimoji="0" lang="en-US" sz="48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37FF"/>
                  </a:solidFill>
                  <a:effectLst/>
                  <a:uLnTx/>
                  <a:uFillTx/>
                  <a:latin typeface="Gilroy Light" panose="00000400000000000000" pitchFamily="50" charset="0"/>
                  <a:ea typeface="Gilroy-Bold ☞" charset="0"/>
                  <a:cs typeface="Gilroy-Bold ☞" charset="0"/>
                  <a:sym typeface="Gilroy" panose="00000500000000000000" pitchFamily="50" charset="0"/>
                </a:rPr>
                <a:t>DevOps Intermedia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800" b="1">
                  <a:solidFill>
                    <a:srgbClr val="EA3675"/>
                  </a:solidFill>
                  <a:latin typeface="Montserrat"/>
                  <a:ea typeface="Montserrat"/>
                  <a:cs typeface="Montserrat"/>
                  <a:sym typeface="Montserrat"/>
                </a:defRPr>
              </a:pPr>
              <a:r>
                <a:rPr kumimoji="0" lang="tr-TR" sz="4800" b="1" i="0" u="none" strike="noStrike" kern="1200" cap="none" spc="-150" normalizeH="0" baseline="0" noProof="0" dirty="0">
                  <a:ln>
                    <a:noFill/>
                  </a:ln>
                  <a:solidFill>
                    <a:srgbClr val="0037FF"/>
                  </a:solidFill>
                  <a:effectLst/>
                  <a:uLnTx/>
                  <a:uFillTx/>
                  <a:latin typeface="Gilroy Light" panose="00000400000000000000" pitchFamily="50" charset="0"/>
                  <a:ea typeface="Gilroy-Bold ☞" charset="0"/>
                  <a:cs typeface="Gilroy-Bold ☞" charset="0"/>
                  <a:sym typeface="Gilroy" panose="00000500000000000000" pitchFamily="50" charset="0"/>
                </a:rPr>
                <a:t>Training</a:t>
              </a:r>
              <a:endPara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75A568F-0FC4-4B74-9D23-BD6B755D0140}"/>
                </a:ext>
              </a:extLst>
            </p:cNvPr>
            <p:cNvSpPr/>
            <p:nvPr/>
          </p:nvSpPr>
          <p:spPr>
            <a:xfrm>
              <a:off x="390209" y="1639676"/>
              <a:ext cx="1440000" cy="1440000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85000"/>
                    </a:srgbClr>
                  </a:solidFill>
                  <a:effectLst/>
                  <a:uLnTx/>
                  <a:uFillTx/>
                  <a:latin typeface="Gilroy Heavy" panose="00000A00000000000000" pitchFamily="50" charset="0"/>
                  <a:cs typeface="Helvetica"/>
                </a:rPr>
                <a:t>1</a:t>
              </a:r>
              <a:endPara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Gilroy Heavy" panose="00000A00000000000000" pitchFamily="50" charset="0"/>
                <a:cs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8624610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B1E1B-6F7F-1867-AF6C-8FEA6C228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F652CBF-1DCB-1EEE-5DDC-A1F73FA934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5B400F8-61D6-259D-957A-0C88BBE70D0B}"/>
              </a:ext>
            </a:extLst>
          </p:cNvPr>
          <p:cNvSpPr txBox="1"/>
          <p:nvPr/>
        </p:nvSpPr>
        <p:spPr>
          <a:xfrm>
            <a:off x="389169" y="644298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Kubernetes Capabilities: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4BD056E2-743B-9CF3-7FEC-4BFC3C5EC7F1}"/>
              </a:ext>
            </a:extLst>
          </p:cNvPr>
          <p:cNvSpPr/>
          <p:nvPr/>
        </p:nvSpPr>
        <p:spPr>
          <a:xfrm>
            <a:off x="1277996" y="1807997"/>
            <a:ext cx="2689202" cy="1039640"/>
          </a:xfrm>
          <a:prstGeom prst="roundRect">
            <a:avLst/>
          </a:prstGeom>
          <a:solidFill>
            <a:srgbClr val="F9432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Load Balancing</a:t>
            </a: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7F4316A5-078F-5AF5-B0C8-2FF0D004D021}"/>
              </a:ext>
            </a:extLst>
          </p:cNvPr>
          <p:cNvSpPr/>
          <p:nvPr/>
        </p:nvSpPr>
        <p:spPr>
          <a:xfrm>
            <a:off x="4630796" y="1807997"/>
            <a:ext cx="2689202" cy="1039640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Storage Orchestration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2D6A8FA9-018A-015E-320C-DCBB29C00408}"/>
              </a:ext>
            </a:extLst>
          </p:cNvPr>
          <p:cNvSpPr/>
          <p:nvPr/>
        </p:nvSpPr>
        <p:spPr>
          <a:xfrm>
            <a:off x="8104380" y="1807997"/>
            <a:ext cx="2689202" cy="1039640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ollout/Rollback</a:t>
            </a:r>
          </a:p>
        </p:txBody>
      </p:sp>
      <p:sp>
        <p:nvSpPr>
          <p:cNvPr id="9" name="Rounded Rectangle 17">
            <a:extLst>
              <a:ext uri="{FF2B5EF4-FFF2-40B4-BE49-F238E27FC236}">
                <a16:creationId xmlns:a16="http://schemas.microsoft.com/office/drawing/2014/main" id="{2C2DBC5C-1FCB-AE18-F050-B1C7A7377A9D}"/>
              </a:ext>
            </a:extLst>
          </p:cNvPr>
          <p:cNvSpPr/>
          <p:nvPr/>
        </p:nvSpPr>
        <p:spPr>
          <a:xfrm>
            <a:off x="4630796" y="4010364"/>
            <a:ext cx="2689202" cy="1039640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figuration Management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B29A8705-B2DC-97A4-6950-32CBE37EC9BF}"/>
              </a:ext>
            </a:extLst>
          </p:cNvPr>
          <p:cNvSpPr/>
          <p:nvPr/>
        </p:nvSpPr>
        <p:spPr>
          <a:xfrm>
            <a:off x="8104380" y="4010364"/>
            <a:ext cx="2689202" cy="1039640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Horizontal Scaling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F8120088-B4AE-ACC2-9C61-6990074F3658}"/>
              </a:ext>
            </a:extLst>
          </p:cNvPr>
          <p:cNvSpPr/>
          <p:nvPr/>
        </p:nvSpPr>
        <p:spPr>
          <a:xfrm>
            <a:off x="1277996" y="4010364"/>
            <a:ext cx="2689202" cy="1039640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Self Healing</a:t>
            </a:r>
          </a:p>
        </p:txBody>
      </p:sp>
    </p:spTree>
    <p:extLst>
      <p:ext uri="{BB962C8B-B14F-4D97-AF65-F5344CB8AC3E}">
        <p14:creationId xmlns:p14="http://schemas.microsoft.com/office/powerpoint/2010/main" val="817379763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5CCDA9-A7D1-B3C4-33C3-688288D88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3AA2FA0-7938-CC46-ED0E-E183207869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8FB1D06-3A2D-3AC9-D8F6-AEFCA13563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718" y="1042241"/>
            <a:ext cx="1085850" cy="105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725DE0-959F-BECE-9A4D-3048A438FF35}"/>
              </a:ext>
            </a:extLst>
          </p:cNvPr>
          <p:cNvSpPr txBox="1"/>
          <p:nvPr/>
        </p:nvSpPr>
        <p:spPr>
          <a:xfrm>
            <a:off x="5701244" y="2557734"/>
            <a:ext cx="1907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latin typeface="Gilroy LİGHT" panose="00000400000000000000"/>
              </a:rPr>
              <a:t>Master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F2B76DF2-A0E6-5117-0FA8-3BEF72DC2069}"/>
              </a:ext>
            </a:extLst>
          </p:cNvPr>
          <p:cNvSpPr/>
          <p:nvPr/>
        </p:nvSpPr>
        <p:spPr>
          <a:xfrm>
            <a:off x="1031631" y="3503892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B17389BC-5852-2BBE-2377-BA84E2FBE589}"/>
              </a:ext>
            </a:extLst>
          </p:cNvPr>
          <p:cNvSpPr/>
          <p:nvPr/>
        </p:nvSpPr>
        <p:spPr>
          <a:xfrm>
            <a:off x="1418582" y="4027112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38D0A0-4C00-3F95-7831-D493B56320EE}"/>
              </a:ext>
            </a:extLst>
          </p:cNvPr>
          <p:cNvSpPr txBox="1"/>
          <p:nvPr/>
        </p:nvSpPr>
        <p:spPr>
          <a:xfrm>
            <a:off x="1031631" y="3503892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F55C3F81-6142-2B60-A950-BE599CFEA336}"/>
              </a:ext>
            </a:extLst>
          </p:cNvPr>
          <p:cNvSpPr/>
          <p:nvPr/>
        </p:nvSpPr>
        <p:spPr>
          <a:xfrm>
            <a:off x="4454770" y="3503892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DA6712E8-0387-9EA1-67D0-F93D8ECB022C}"/>
              </a:ext>
            </a:extLst>
          </p:cNvPr>
          <p:cNvSpPr/>
          <p:nvPr/>
        </p:nvSpPr>
        <p:spPr>
          <a:xfrm>
            <a:off x="4841721" y="4027112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5EFC65-E373-5080-7935-FAF6ECE971CA}"/>
              </a:ext>
            </a:extLst>
          </p:cNvPr>
          <p:cNvSpPr txBox="1"/>
          <p:nvPr/>
        </p:nvSpPr>
        <p:spPr>
          <a:xfrm>
            <a:off x="4454770" y="3503892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7E753FB2-FC59-26BC-8979-9086C29D75FC}"/>
              </a:ext>
            </a:extLst>
          </p:cNvPr>
          <p:cNvSpPr/>
          <p:nvPr/>
        </p:nvSpPr>
        <p:spPr>
          <a:xfrm>
            <a:off x="8006772" y="3494563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2B118EF6-16A6-CD04-EBC8-CD7D4C828D64}"/>
              </a:ext>
            </a:extLst>
          </p:cNvPr>
          <p:cNvSpPr/>
          <p:nvPr/>
        </p:nvSpPr>
        <p:spPr>
          <a:xfrm>
            <a:off x="8393723" y="4017783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41552EA-DE04-C7C6-B839-9E6FEF8E201A}"/>
              </a:ext>
            </a:extLst>
          </p:cNvPr>
          <p:cNvSpPr txBox="1"/>
          <p:nvPr/>
        </p:nvSpPr>
        <p:spPr>
          <a:xfrm>
            <a:off x="8006772" y="3494563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BFDE04E-DF99-64F0-6CDD-4B29E51C3582}"/>
              </a:ext>
            </a:extLst>
          </p:cNvPr>
          <p:cNvCxnSpPr>
            <a:cxnSpLocks/>
            <a:stCxn id="1026" idx="1"/>
          </p:cNvCxnSpPr>
          <p:nvPr/>
        </p:nvCxnSpPr>
        <p:spPr>
          <a:xfrm flipH="1">
            <a:off x="2540245" y="1568498"/>
            <a:ext cx="2583473" cy="15361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E1824A8-6211-DBB0-B13C-6066C07389D2}"/>
              </a:ext>
            </a:extLst>
          </p:cNvPr>
          <p:cNvCxnSpPr>
            <a:cxnSpLocks/>
            <a:stCxn id="1026" idx="2"/>
          </p:cNvCxnSpPr>
          <p:nvPr/>
        </p:nvCxnSpPr>
        <p:spPr>
          <a:xfrm>
            <a:off x="5666643" y="2094754"/>
            <a:ext cx="0" cy="10646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9333222-DB75-733D-4F0A-EAB45003A85B}"/>
              </a:ext>
            </a:extLst>
          </p:cNvPr>
          <p:cNvCxnSpPr>
            <a:cxnSpLocks/>
            <a:stCxn id="1026" idx="3"/>
          </p:cNvCxnSpPr>
          <p:nvPr/>
        </p:nvCxnSpPr>
        <p:spPr>
          <a:xfrm>
            <a:off x="6209568" y="1568498"/>
            <a:ext cx="3217894" cy="15155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925E8F3-A923-64E8-AB45-0E5642DE22CF}"/>
              </a:ext>
            </a:extLst>
          </p:cNvPr>
          <p:cNvSpPr txBox="1"/>
          <p:nvPr/>
        </p:nvSpPr>
        <p:spPr>
          <a:xfrm>
            <a:off x="1512275" y="5392427"/>
            <a:ext cx="14653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003ECEC-9800-7B94-6941-56F814DD7709}"/>
              </a:ext>
            </a:extLst>
          </p:cNvPr>
          <p:cNvSpPr txBox="1"/>
          <p:nvPr/>
        </p:nvSpPr>
        <p:spPr>
          <a:xfrm>
            <a:off x="5135861" y="5468788"/>
            <a:ext cx="18171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4C2D6CD-429B-EEF4-1E11-4C4F469B76FD}"/>
              </a:ext>
            </a:extLst>
          </p:cNvPr>
          <p:cNvSpPr txBox="1"/>
          <p:nvPr/>
        </p:nvSpPr>
        <p:spPr>
          <a:xfrm>
            <a:off x="8891864" y="5468788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0BD072-70A8-790C-B123-0525472B7A1C}"/>
              </a:ext>
            </a:extLst>
          </p:cNvPr>
          <p:cNvSpPr txBox="1"/>
          <p:nvPr/>
        </p:nvSpPr>
        <p:spPr>
          <a:xfrm>
            <a:off x="422767" y="701046"/>
            <a:ext cx="3784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Gilroy Light" panose="00000400000000000000"/>
              </a:rPr>
              <a:t>K8s Running</a:t>
            </a:r>
          </a:p>
        </p:txBody>
      </p:sp>
    </p:spTree>
    <p:extLst>
      <p:ext uri="{BB962C8B-B14F-4D97-AF65-F5344CB8AC3E}">
        <p14:creationId xmlns:p14="http://schemas.microsoft.com/office/powerpoint/2010/main" val="2455389266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C9E163-0C37-2D28-494F-370F033CB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36FA7B9-7AD7-7736-89AF-08AA7DFC53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A09B2E6E-2754-4F97-11EF-2B59FEB55ABA}"/>
              </a:ext>
            </a:extLst>
          </p:cNvPr>
          <p:cNvSpPr/>
          <p:nvPr/>
        </p:nvSpPr>
        <p:spPr>
          <a:xfrm>
            <a:off x="2522770" y="4040853"/>
            <a:ext cx="6972923" cy="2178973"/>
          </a:xfrm>
          <a:prstGeom prst="roundRect">
            <a:avLst/>
          </a:prstGeom>
          <a:solidFill>
            <a:srgbClr val="F9432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2F6E4E72-B0DD-B0EA-B735-9197917BDE8A}"/>
              </a:ext>
            </a:extLst>
          </p:cNvPr>
          <p:cNvSpPr/>
          <p:nvPr/>
        </p:nvSpPr>
        <p:spPr>
          <a:xfrm>
            <a:off x="3003413" y="4806633"/>
            <a:ext cx="2564238" cy="1272013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62316E-7CEB-FFC9-BDD4-63CE6879174A}"/>
              </a:ext>
            </a:extLst>
          </p:cNvPr>
          <p:cNvSpPr txBox="1"/>
          <p:nvPr/>
        </p:nvSpPr>
        <p:spPr>
          <a:xfrm>
            <a:off x="2769134" y="4040853"/>
            <a:ext cx="1698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E1EE7964-3D7B-6551-DECC-68C719A6E2F3}"/>
              </a:ext>
            </a:extLst>
          </p:cNvPr>
          <p:cNvSpPr/>
          <p:nvPr/>
        </p:nvSpPr>
        <p:spPr>
          <a:xfrm>
            <a:off x="3144090" y="5504078"/>
            <a:ext cx="2294316" cy="319352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C022F-B3FF-0539-2A02-99CA5A113DE6}"/>
              </a:ext>
            </a:extLst>
          </p:cNvPr>
          <p:cNvSpPr txBox="1"/>
          <p:nvPr/>
        </p:nvSpPr>
        <p:spPr>
          <a:xfrm>
            <a:off x="3144089" y="4806633"/>
            <a:ext cx="1698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9" name="Rounded Rectangle 17">
            <a:extLst>
              <a:ext uri="{FF2B5EF4-FFF2-40B4-BE49-F238E27FC236}">
                <a16:creationId xmlns:a16="http://schemas.microsoft.com/office/drawing/2014/main" id="{390B889D-A723-5001-B8C7-79A3B220AF08}"/>
              </a:ext>
            </a:extLst>
          </p:cNvPr>
          <p:cNvSpPr/>
          <p:nvPr/>
        </p:nvSpPr>
        <p:spPr>
          <a:xfrm>
            <a:off x="6602398" y="4804014"/>
            <a:ext cx="2564238" cy="1272013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E1549DF5-BA50-C515-67A8-3D179DEAF49C}"/>
              </a:ext>
            </a:extLst>
          </p:cNvPr>
          <p:cNvSpPr/>
          <p:nvPr/>
        </p:nvSpPr>
        <p:spPr>
          <a:xfrm>
            <a:off x="6836860" y="5504078"/>
            <a:ext cx="2107849" cy="319352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CE89F6-73EE-5AD5-17EF-8E7541935F35}"/>
              </a:ext>
            </a:extLst>
          </p:cNvPr>
          <p:cNvSpPr txBox="1"/>
          <p:nvPr/>
        </p:nvSpPr>
        <p:spPr>
          <a:xfrm>
            <a:off x="6743074" y="4804014"/>
            <a:ext cx="16982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53E71A-F34B-DCE9-06A1-750DF15C2451}"/>
              </a:ext>
            </a:extLst>
          </p:cNvPr>
          <p:cNvSpPr txBox="1"/>
          <p:nvPr/>
        </p:nvSpPr>
        <p:spPr>
          <a:xfrm>
            <a:off x="687044" y="1286141"/>
            <a:ext cx="49978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ods live and die but never come back to l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Scale Horizont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od memory, volumes shared other contai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Environment for contain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31237D-A034-786D-37CF-BBD9ABC51113}"/>
              </a:ext>
            </a:extLst>
          </p:cNvPr>
          <p:cNvSpPr txBox="1"/>
          <p:nvPr/>
        </p:nvSpPr>
        <p:spPr>
          <a:xfrm>
            <a:off x="515996" y="763289"/>
            <a:ext cx="60960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PODS</a:t>
            </a:r>
          </a:p>
          <a:p>
            <a:endParaRPr lang="en-US" sz="1800" b="1" dirty="0">
              <a:latin typeface="Gilroy LİGHT" panose="0000040000000000000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9531CD2-6A17-F750-A845-D64BD174709B}"/>
              </a:ext>
            </a:extLst>
          </p:cNvPr>
          <p:cNvSpPr txBox="1"/>
          <p:nvPr/>
        </p:nvSpPr>
        <p:spPr>
          <a:xfrm>
            <a:off x="5684881" y="1247909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od containers share same network names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od memory, volumes shared other contai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orts can be reused by containers in separate pods</a:t>
            </a:r>
          </a:p>
        </p:txBody>
      </p:sp>
    </p:spTree>
    <p:extLst>
      <p:ext uri="{BB962C8B-B14F-4D97-AF65-F5344CB8AC3E}">
        <p14:creationId xmlns:p14="http://schemas.microsoft.com/office/powerpoint/2010/main" val="4157790836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CCC2C-3F02-1FA2-1A53-ABAB7E11D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D3B577C-00A5-F3FF-7757-E8FBFEDFD8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CCB810C1-4939-226D-D4F5-0DBD6E686CCD}"/>
              </a:ext>
            </a:extLst>
          </p:cNvPr>
          <p:cNvSpPr/>
          <p:nvPr/>
        </p:nvSpPr>
        <p:spPr>
          <a:xfrm>
            <a:off x="1160451" y="2079773"/>
            <a:ext cx="2766646" cy="1794939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9FB97914-76C6-D180-C64B-50408B6CED2C}"/>
              </a:ext>
            </a:extLst>
          </p:cNvPr>
          <p:cNvSpPr/>
          <p:nvPr/>
        </p:nvSpPr>
        <p:spPr>
          <a:xfrm>
            <a:off x="1547402" y="2602993"/>
            <a:ext cx="2027912" cy="727905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EAFEBD-1C2A-BE5F-0C2D-993526625643}"/>
              </a:ext>
            </a:extLst>
          </p:cNvPr>
          <p:cNvSpPr txBox="1"/>
          <p:nvPr/>
        </p:nvSpPr>
        <p:spPr>
          <a:xfrm>
            <a:off x="1160451" y="2079773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9B9858-540C-4044-4C4B-AAE6C20F6A41}"/>
              </a:ext>
            </a:extLst>
          </p:cNvPr>
          <p:cNvSpPr txBox="1"/>
          <p:nvPr/>
        </p:nvSpPr>
        <p:spPr>
          <a:xfrm>
            <a:off x="430200" y="856462"/>
            <a:ext cx="4822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Pods and Containers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2154BE17-C582-4EB7-36E8-5830923A46A5}"/>
              </a:ext>
            </a:extLst>
          </p:cNvPr>
          <p:cNvSpPr/>
          <p:nvPr/>
        </p:nvSpPr>
        <p:spPr>
          <a:xfrm>
            <a:off x="4513251" y="2079773"/>
            <a:ext cx="2766646" cy="1794939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1B03055B-18FA-871C-F3DE-F6F4D4E20085}"/>
              </a:ext>
            </a:extLst>
          </p:cNvPr>
          <p:cNvSpPr/>
          <p:nvPr/>
        </p:nvSpPr>
        <p:spPr>
          <a:xfrm>
            <a:off x="4900202" y="2602993"/>
            <a:ext cx="2027912" cy="727905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FFB88B-646B-2258-DEFB-2573321B326C}"/>
              </a:ext>
            </a:extLst>
          </p:cNvPr>
          <p:cNvSpPr txBox="1"/>
          <p:nvPr/>
        </p:nvSpPr>
        <p:spPr>
          <a:xfrm>
            <a:off x="4513251" y="2079773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892B8443-B355-466E-C138-CB37B2C3585A}"/>
              </a:ext>
            </a:extLst>
          </p:cNvPr>
          <p:cNvSpPr/>
          <p:nvPr/>
        </p:nvSpPr>
        <p:spPr>
          <a:xfrm>
            <a:off x="7901175" y="2061115"/>
            <a:ext cx="2766646" cy="1794939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D3B97AA7-810F-D8BA-DFE3-6EB8BC4E35BF}"/>
              </a:ext>
            </a:extLst>
          </p:cNvPr>
          <p:cNvSpPr/>
          <p:nvPr/>
        </p:nvSpPr>
        <p:spPr>
          <a:xfrm>
            <a:off x="8288126" y="2584335"/>
            <a:ext cx="2027912" cy="727905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6A17F-57D5-A9F1-D6CB-9BB27EFCEB95}"/>
              </a:ext>
            </a:extLst>
          </p:cNvPr>
          <p:cNvSpPr txBox="1"/>
          <p:nvPr/>
        </p:nvSpPr>
        <p:spPr>
          <a:xfrm>
            <a:off x="7901175" y="2061115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</p:spTree>
    <p:extLst>
      <p:ext uri="{BB962C8B-B14F-4D97-AF65-F5344CB8AC3E}">
        <p14:creationId xmlns:p14="http://schemas.microsoft.com/office/powerpoint/2010/main" val="1807682957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9EB88-B918-5654-2930-080EE9A73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FE9E249-9D4A-442C-8F0C-AAD33E450A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B060C187-099B-174B-3F07-9DAC3E3DA1C5}"/>
              </a:ext>
            </a:extLst>
          </p:cNvPr>
          <p:cNvSpPr/>
          <p:nvPr/>
        </p:nvSpPr>
        <p:spPr>
          <a:xfrm>
            <a:off x="4218998" y="222738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F52D5217-81E9-926C-6F14-2A2B7099901D}"/>
              </a:ext>
            </a:extLst>
          </p:cNvPr>
          <p:cNvSpPr/>
          <p:nvPr/>
        </p:nvSpPr>
        <p:spPr>
          <a:xfrm>
            <a:off x="4605949" y="275060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B3E9D9-F7B6-861C-DE5B-7EAD852DCDA0}"/>
              </a:ext>
            </a:extLst>
          </p:cNvPr>
          <p:cNvSpPr txBox="1"/>
          <p:nvPr/>
        </p:nvSpPr>
        <p:spPr>
          <a:xfrm>
            <a:off x="4218998" y="222738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D73F11-7639-1453-EACB-A7296C7E7ABC}"/>
              </a:ext>
            </a:extLst>
          </p:cNvPr>
          <p:cNvSpPr txBox="1"/>
          <p:nvPr/>
        </p:nvSpPr>
        <p:spPr>
          <a:xfrm>
            <a:off x="430200" y="856462"/>
            <a:ext cx="4822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Pods and Containers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8296B07B-0BAB-82DE-C8AF-280EC1CD068D}"/>
              </a:ext>
            </a:extLst>
          </p:cNvPr>
          <p:cNvSpPr/>
          <p:nvPr/>
        </p:nvSpPr>
        <p:spPr>
          <a:xfrm>
            <a:off x="6778057" y="2227386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0D440B13-BC1E-DB51-13D3-35FA8E248BA1}"/>
              </a:ext>
            </a:extLst>
          </p:cNvPr>
          <p:cNvSpPr/>
          <p:nvPr/>
        </p:nvSpPr>
        <p:spPr>
          <a:xfrm>
            <a:off x="7165008" y="2750607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AEA02C-F784-22AE-23A1-67C22967574A}"/>
              </a:ext>
            </a:extLst>
          </p:cNvPr>
          <p:cNvSpPr txBox="1"/>
          <p:nvPr/>
        </p:nvSpPr>
        <p:spPr>
          <a:xfrm>
            <a:off x="6778057" y="2227386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F95B4B73-A442-1338-74D0-2EE52649E376}"/>
              </a:ext>
            </a:extLst>
          </p:cNvPr>
          <p:cNvSpPr/>
          <p:nvPr/>
        </p:nvSpPr>
        <p:spPr>
          <a:xfrm>
            <a:off x="9296221" y="220872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6169868B-D5B6-C412-6514-37F8DBED6EBA}"/>
              </a:ext>
            </a:extLst>
          </p:cNvPr>
          <p:cNvSpPr/>
          <p:nvPr/>
        </p:nvSpPr>
        <p:spPr>
          <a:xfrm>
            <a:off x="9683172" y="273194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045AB7-95AE-3E57-D288-3534A5B939D2}"/>
              </a:ext>
            </a:extLst>
          </p:cNvPr>
          <p:cNvSpPr txBox="1"/>
          <p:nvPr/>
        </p:nvSpPr>
        <p:spPr>
          <a:xfrm>
            <a:off x="9296221" y="220872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D97FACD1-5CD2-A034-EA44-6AF6D5EB8E71}"/>
              </a:ext>
            </a:extLst>
          </p:cNvPr>
          <p:cNvSpPr/>
          <p:nvPr/>
        </p:nvSpPr>
        <p:spPr>
          <a:xfrm>
            <a:off x="4218998" y="4190125"/>
            <a:ext cx="7492086" cy="481432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E72EF7D0-8676-FF2F-3876-77761F89E0E8}"/>
              </a:ext>
            </a:extLst>
          </p:cNvPr>
          <p:cNvSpPr/>
          <p:nvPr/>
        </p:nvSpPr>
        <p:spPr>
          <a:xfrm>
            <a:off x="221429" y="2284948"/>
            <a:ext cx="3739717" cy="15858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74935F46-AF6C-6C43-27AC-4E3CFB3C1EED}"/>
              </a:ext>
            </a:extLst>
          </p:cNvPr>
          <p:cNvSpPr/>
          <p:nvPr/>
        </p:nvSpPr>
        <p:spPr>
          <a:xfrm>
            <a:off x="608379" y="2808169"/>
            <a:ext cx="2741159" cy="6431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eplicaS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3AB408-68BA-9FDC-81C7-40F81849FD14}"/>
              </a:ext>
            </a:extLst>
          </p:cNvPr>
          <p:cNvSpPr txBox="1"/>
          <p:nvPr/>
        </p:nvSpPr>
        <p:spPr>
          <a:xfrm>
            <a:off x="221429" y="2284948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3F26F52-FA31-0B1C-7203-52914FF17DB4}"/>
              </a:ext>
            </a:extLst>
          </p:cNvPr>
          <p:cNvSpPr/>
          <p:nvPr/>
        </p:nvSpPr>
        <p:spPr>
          <a:xfrm>
            <a:off x="4077234" y="1746937"/>
            <a:ext cx="7906124" cy="2309248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919552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E3FA7-403D-9085-D5BD-E2FDE92C2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522F252-223A-3D79-748D-E3252386F6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57F3F5C-22A6-2F28-9892-55D107319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389" y="897965"/>
            <a:ext cx="1436204" cy="139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7DD508-9963-4E2E-0987-E2648C9D87DE}"/>
              </a:ext>
            </a:extLst>
          </p:cNvPr>
          <p:cNvSpPr txBox="1"/>
          <p:nvPr/>
        </p:nvSpPr>
        <p:spPr>
          <a:xfrm>
            <a:off x="6713092" y="3083991"/>
            <a:ext cx="1907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latin typeface="Gilroy LİGHT" panose="00000400000000000000"/>
              </a:rPr>
              <a:t>Master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E1F66C5A-DC23-B324-055D-3CEEA3875263}"/>
              </a:ext>
            </a:extLst>
          </p:cNvPr>
          <p:cNvSpPr/>
          <p:nvPr/>
        </p:nvSpPr>
        <p:spPr>
          <a:xfrm>
            <a:off x="2043479" y="4030149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2A4FA84B-9EC7-3012-3447-E197694B7545}"/>
              </a:ext>
            </a:extLst>
          </p:cNvPr>
          <p:cNvSpPr/>
          <p:nvPr/>
        </p:nvSpPr>
        <p:spPr>
          <a:xfrm>
            <a:off x="2430430" y="4553369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661598-E33E-B431-1C31-41AC679F272A}"/>
              </a:ext>
            </a:extLst>
          </p:cNvPr>
          <p:cNvSpPr txBox="1"/>
          <p:nvPr/>
        </p:nvSpPr>
        <p:spPr>
          <a:xfrm>
            <a:off x="2043479" y="4030149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7694CAC2-D1BE-8A0D-9B97-D393C885B70D}"/>
              </a:ext>
            </a:extLst>
          </p:cNvPr>
          <p:cNvSpPr/>
          <p:nvPr/>
        </p:nvSpPr>
        <p:spPr>
          <a:xfrm>
            <a:off x="5466618" y="4030149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8089D5AF-0020-808F-29E5-2E9A7639C21E}"/>
              </a:ext>
            </a:extLst>
          </p:cNvPr>
          <p:cNvSpPr/>
          <p:nvPr/>
        </p:nvSpPr>
        <p:spPr>
          <a:xfrm>
            <a:off x="5853569" y="4553369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D2A875-9EA1-CBD7-334E-4B4EB6B25524}"/>
              </a:ext>
            </a:extLst>
          </p:cNvPr>
          <p:cNvSpPr txBox="1"/>
          <p:nvPr/>
        </p:nvSpPr>
        <p:spPr>
          <a:xfrm>
            <a:off x="5466618" y="4030149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8945F58-FE5C-BD09-A73C-BC3C59A6328F}"/>
              </a:ext>
            </a:extLst>
          </p:cNvPr>
          <p:cNvSpPr/>
          <p:nvPr/>
        </p:nvSpPr>
        <p:spPr>
          <a:xfrm>
            <a:off x="9018620" y="4020820"/>
            <a:ext cx="2766646" cy="1794939"/>
          </a:xfrm>
          <a:prstGeom prst="roundRect">
            <a:avLst/>
          </a:prstGeom>
          <a:solidFill>
            <a:srgbClr val="F8432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E331D61B-884E-736C-2920-CD3F3DCC5C0B}"/>
              </a:ext>
            </a:extLst>
          </p:cNvPr>
          <p:cNvSpPr/>
          <p:nvPr/>
        </p:nvSpPr>
        <p:spPr>
          <a:xfrm>
            <a:off x="9405571" y="4544040"/>
            <a:ext cx="2027912" cy="7279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o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41C3B9-84E2-ECC6-0C04-2952911C4FC8}"/>
              </a:ext>
            </a:extLst>
          </p:cNvPr>
          <p:cNvSpPr txBox="1"/>
          <p:nvPr/>
        </p:nvSpPr>
        <p:spPr>
          <a:xfrm>
            <a:off x="9018620" y="4020820"/>
            <a:ext cx="1770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Nod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AD7356-14FE-2E95-C337-FDF062A6B60A}"/>
              </a:ext>
            </a:extLst>
          </p:cNvPr>
          <p:cNvCxnSpPr>
            <a:cxnSpLocks/>
            <a:stCxn id="1026" idx="1"/>
          </p:cNvCxnSpPr>
          <p:nvPr/>
        </p:nvCxnSpPr>
        <p:spPr>
          <a:xfrm flipH="1">
            <a:off x="3679261" y="1594021"/>
            <a:ext cx="2281128" cy="2191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D5A9AAA-317E-52DF-CCF0-8241EF4C5683}"/>
              </a:ext>
            </a:extLst>
          </p:cNvPr>
          <p:cNvCxnSpPr>
            <a:cxnSpLocks/>
            <a:stCxn id="1026" idx="2"/>
            <a:endCxn id="3" idx="0"/>
          </p:cNvCxnSpPr>
          <p:nvPr/>
        </p:nvCxnSpPr>
        <p:spPr>
          <a:xfrm>
            <a:off x="6678491" y="2290076"/>
            <a:ext cx="47763" cy="1306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3AC0412-ED9A-E318-B5E9-F2C5D3D1D810}"/>
              </a:ext>
            </a:extLst>
          </p:cNvPr>
          <p:cNvCxnSpPr>
            <a:cxnSpLocks/>
            <a:stCxn id="1026" idx="3"/>
          </p:cNvCxnSpPr>
          <p:nvPr/>
        </p:nvCxnSpPr>
        <p:spPr>
          <a:xfrm>
            <a:off x="7396593" y="1594021"/>
            <a:ext cx="2842094" cy="21831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86658FB-C522-86A3-2932-73765F790CDE}"/>
              </a:ext>
            </a:extLst>
          </p:cNvPr>
          <p:cNvSpPr txBox="1"/>
          <p:nvPr/>
        </p:nvSpPr>
        <p:spPr>
          <a:xfrm>
            <a:off x="2524123" y="5918684"/>
            <a:ext cx="14653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49D153-4781-9303-160A-BEF3B053E0BA}"/>
              </a:ext>
            </a:extLst>
          </p:cNvPr>
          <p:cNvSpPr txBox="1"/>
          <p:nvPr/>
        </p:nvSpPr>
        <p:spPr>
          <a:xfrm>
            <a:off x="6147709" y="5995045"/>
            <a:ext cx="18171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9B0F4B3-1CAE-F243-AE1A-DA4E929363DA}"/>
              </a:ext>
            </a:extLst>
          </p:cNvPr>
          <p:cNvSpPr txBox="1"/>
          <p:nvPr/>
        </p:nvSpPr>
        <p:spPr>
          <a:xfrm>
            <a:off x="9903712" y="5995044"/>
            <a:ext cx="15297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Clust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6D7F6C2-5CC5-3E1D-AC84-BEBE6198FEA1}"/>
              </a:ext>
            </a:extLst>
          </p:cNvPr>
          <p:cNvSpPr/>
          <p:nvPr/>
        </p:nvSpPr>
        <p:spPr>
          <a:xfrm>
            <a:off x="3233187" y="3562087"/>
            <a:ext cx="637811" cy="523220"/>
          </a:xfrm>
          <a:prstGeom prst="ellipse">
            <a:avLst/>
          </a:prstGeom>
          <a:solidFill>
            <a:srgbClr val="0037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33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1847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1EE4A8A-13B2-6B83-4942-8322F69E53A2}"/>
              </a:ext>
            </a:extLst>
          </p:cNvPr>
          <p:cNvSpPr/>
          <p:nvPr/>
        </p:nvSpPr>
        <p:spPr>
          <a:xfrm>
            <a:off x="6407348" y="3596275"/>
            <a:ext cx="637811" cy="523220"/>
          </a:xfrm>
          <a:prstGeom prst="ellipse">
            <a:avLst/>
          </a:prstGeom>
          <a:solidFill>
            <a:srgbClr val="0037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33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1847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2640EB3-B11D-9A50-F757-BB9A82A1A155}"/>
              </a:ext>
            </a:extLst>
          </p:cNvPr>
          <p:cNvSpPr/>
          <p:nvPr/>
        </p:nvSpPr>
        <p:spPr>
          <a:xfrm>
            <a:off x="10100621" y="3562087"/>
            <a:ext cx="637811" cy="523220"/>
          </a:xfrm>
          <a:prstGeom prst="ellipse">
            <a:avLst/>
          </a:prstGeom>
          <a:solidFill>
            <a:srgbClr val="0037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33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1847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43AD264D-C42E-F25C-F230-03FF521ED3BF}"/>
              </a:ext>
            </a:extLst>
          </p:cNvPr>
          <p:cNvSpPr/>
          <p:nvPr/>
        </p:nvSpPr>
        <p:spPr>
          <a:xfrm>
            <a:off x="201600" y="1880261"/>
            <a:ext cx="1627200" cy="366413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kubect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B8153A12-1E31-2082-098B-10F0BB3D5A42}"/>
              </a:ext>
            </a:extLst>
          </p:cNvPr>
          <p:cNvSpPr/>
          <p:nvPr/>
        </p:nvSpPr>
        <p:spPr>
          <a:xfrm>
            <a:off x="3000064" y="1032912"/>
            <a:ext cx="1627200" cy="366413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Manager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2C8B467F-5D6F-1F45-A89F-6EF6F203B991}"/>
              </a:ext>
            </a:extLst>
          </p:cNvPr>
          <p:cNvSpPr/>
          <p:nvPr/>
        </p:nvSpPr>
        <p:spPr>
          <a:xfrm>
            <a:off x="3009168" y="1880262"/>
            <a:ext cx="1627200" cy="366413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API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9FCF676F-F9CD-F6AA-A44E-6E6B2C31BA1C}"/>
              </a:ext>
            </a:extLst>
          </p:cNvPr>
          <p:cNvSpPr/>
          <p:nvPr/>
        </p:nvSpPr>
        <p:spPr>
          <a:xfrm>
            <a:off x="8378336" y="1013857"/>
            <a:ext cx="1627200" cy="366413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chedule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7FE2A87-D233-5E31-A7B2-D45706362043}"/>
              </a:ext>
            </a:extLst>
          </p:cNvPr>
          <p:cNvCxnSpPr>
            <a:cxnSpLocks/>
            <a:stCxn id="8" idx="3"/>
            <a:endCxn id="14" idx="1"/>
          </p:cNvCxnSpPr>
          <p:nvPr/>
        </p:nvCxnSpPr>
        <p:spPr>
          <a:xfrm>
            <a:off x="1828800" y="2063468"/>
            <a:ext cx="118036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2D4782-4CA4-2928-C59B-DD7A4810F7F1}"/>
              </a:ext>
            </a:extLst>
          </p:cNvPr>
          <p:cNvCxnSpPr>
            <a:cxnSpLocks/>
          </p:cNvCxnSpPr>
          <p:nvPr/>
        </p:nvCxnSpPr>
        <p:spPr>
          <a:xfrm flipV="1">
            <a:off x="4823679" y="2026834"/>
            <a:ext cx="1029890" cy="9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4EC6083-D578-671E-8B0C-E3869FF006F4}"/>
              </a:ext>
            </a:extLst>
          </p:cNvPr>
          <p:cNvCxnSpPr>
            <a:cxnSpLocks/>
          </p:cNvCxnSpPr>
          <p:nvPr/>
        </p:nvCxnSpPr>
        <p:spPr>
          <a:xfrm flipV="1">
            <a:off x="4823679" y="1151948"/>
            <a:ext cx="1029890" cy="9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57E8F6C-B6C8-EDE6-F193-0EE504EAD5BE}"/>
              </a:ext>
            </a:extLst>
          </p:cNvPr>
          <p:cNvCxnSpPr>
            <a:cxnSpLocks/>
          </p:cNvCxnSpPr>
          <p:nvPr/>
        </p:nvCxnSpPr>
        <p:spPr>
          <a:xfrm flipH="1">
            <a:off x="7503413" y="1231327"/>
            <a:ext cx="7298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17">
            <a:extLst>
              <a:ext uri="{FF2B5EF4-FFF2-40B4-BE49-F238E27FC236}">
                <a16:creationId xmlns:a16="http://schemas.microsoft.com/office/drawing/2014/main" id="{13599F01-2144-51EC-2A01-B1FAB4799530}"/>
              </a:ext>
            </a:extLst>
          </p:cNvPr>
          <p:cNvSpPr/>
          <p:nvPr/>
        </p:nvSpPr>
        <p:spPr>
          <a:xfrm>
            <a:off x="8355133" y="1825996"/>
            <a:ext cx="1627200" cy="366413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err="1">
                <a:solidFill>
                  <a:srgbClr val="FFFFFF"/>
                </a:solidFill>
                <a:latin typeface="Gilroy" panose="00000500000000000000"/>
              </a:rPr>
              <a:t>etcd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5D7C116-83C2-E4DA-76E9-62EEA817C9F8}"/>
              </a:ext>
            </a:extLst>
          </p:cNvPr>
          <p:cNvCxnSpPr>
            <a:cxnSpLocks/>
          </p:cNvCxnSpPr>
          <p:nvPr/>
        </p:nvCxnSpPr>
        <p:spPr>
          <a:xfrm flipH="1">
            <a:off x="7599950" y="2026834"/>
            <a:ext cx="7298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012317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CD62D-1C69-2A29-22C7-D88299523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DCC038-9CD4-B4B4-17E1-82BD20F7CB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4678AA4-D1FA-197E-1780-2C6246B16159}"/>
              </a:ext>
            </a:extLst>
          </p:cNvPr>
          <p:cNvSpPr txBox="1"/>
          <p:nvPr/>
        </p:nvSpPr>
        <p:spPr>
          <a:xfrm>
            <a:off x="389169" y="644298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Developer Use Cases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CAED4ED4-73BA-68E9-679E-E912E8C25711}"/>
              </a:ext>
            </a:extLst>
          </p:cNvPr>
          <p:cNvSpPr/>
          <p:nvPr/>
        </p:nvSpPr>
        <p:spPr>
          <a:xfrm>
            <a:off x="1277996" y="1807997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Emulate production environment</a:t>
            </a: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C5E1AABA-A24F-7894-7C54-1E19167359BC}"/>
              </a:ext>
            </a:extLst>
          </p:cNvPr>
          <p:cNvSpPr/>
          <p:nvPr/>
        </p:nvSpPr>
        <p:spPr>
          <a:xfrm>
            <a:off x="4630796" y="1807997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Move from docker compose to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kubernet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70E058E8-1E0C-3092-404A-9208C7CAD858}"/>
              </a:ext>
            </a:extLst>
          </p:cNvPr>
          <p:cNvSpPr/>
          <p:nvPr/>
        </p:nvSpPr>
        <p:spPr>
          <a:xfrm>
            <a:off x="8104380" y="1807997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E2e testing</a:t>
            </a:r>
          </a:p>
        </p:txBody>
      </p:sp>
      <p:sp>
        <p:nvSpPr>
          <p:cNvPr id="9" name="Rounded Rectangle 17">
            <a:extLst>
              <a:ext uri="{FF2B5EF4-FFF2-40B4-BE49-F238E27FC236}">
                <a16:creationId xmlns:a16="http://schemas.microsoft.com/office/drawing/2014/main" id="{05BB860A-8CAB-9276-46CE-CB17AE5AF981}"/>
              </a:ext>
            </a:extLst>
          </p:cNvPr>
          <p:cNvSpPr/>
          <p:nvPr/>
        </p:nvSpPr>
        <p:spPr>
          <a:xfrm>
            <a:off x="4630796" y="4010364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Performance Testing 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3421FC6B-2A09-9291-9D8E-63656C1532F1}"/>
              </a:ext>
            </a:extLst>
          </p:cNvPr>
          <p:cNvSpPr/>
          <p:nvPr/>
        </p:nvSpPr>
        <p:spPr>
          <a:xfrm>
            <a:off x="8104380" y="4010364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CI/CD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E17A5F1F-6C56-EFEB-8D48-2B658D8D030A}"/>
              </a:ext>
            </a:extLst>
          </p:cNvPr>
          <p:cNvSpPr/>
          <p:nvPr/>
        </p:nvSpPr>
        <p:spPr>
          <a:xfrm>
            <a:off x="1277996" y="4010364"/>
            <a:ext cx="2689202" cy="10396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Application scales properl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062742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431665-83DA-F9F3-E904-972DFC6E3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A11A1B5-48D2-3AFB-6D60-713C4D6759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A4C6A93-2D2D-39CF-6389-6EF5D64E0405}"/>
              </a:ext>
            </a:extLst>
          </p:cNvPr>
          <p:cNvSpPr txBox="1"/>
          <p:nvPr/>
        </p:nvSpPr>
        <p:spPr>
          <a:xfrm>
            <a:off x="389169" y="644298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err="1">
                <a:latin typeface="Gilroy LİGHT" panose="00000400000000000000"/>
              </a:rPr>
              <a:t>Kubectl</a:t>
            </a:r>
            <a:r>
              <a:rPr lang="en-US" sz="4000" b="1" dirty="0">
                <a:latin typeface="Gilroy LİGHT" panose="00000400000000000000"/>
              </a:rPr>
              <a:t> Commands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226E462B-0962-602B-5809-427FD639D7BA}"/>
              </a:ext>
            </a:extLst>
          </p:cNvPr>
          <p:cNvSpPr/>
          <p:nvPr/>
        </p:nvSpPr>
        <p:spPr>
          <a:xfrm>
            <a:off x="914490" y="1669962"/>
            <a:ext cx="10363019" cy="4414785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BE3FA1-9C7B-405F-F9A8-B316ABC4189E}"/>
              </a:ext>
            </a:extLst>
          </p:cNvPr>
          <p:cNvSpPr txBox="1"/>
          <p:nvPr/>
        </p:nvSpPr>
        <p:spPr>
          <a:xfrm>
            <a:off x="2168770" y="2380169"/>
            <a:ext cx="576775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a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ver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cluster-inf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get 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run container-name –image=defin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port-forward pod po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expose .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create resour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bg1"/>
                </a:solidFill>
                <a:latin typeface="Gilroy LİGHT" panose="00000400000000000000"/>
              </a:rPr>
              <a:t>Kubectl</a:t>
            </a:r>
            <a:r>
              <a:rPr lang="en-US" sz="2000" b="1" dirty="0">
                <a:solidFill>
                  <a:schemeClr val="bg1"/>
                </a:solidFill>
                <a:latin typeface="Gilroy LİGHT" panose="00000400000000000000"/>
              </a:rPr>
              <a:t> apply resource</a:t>
            </a:r>
          </a:p>
        </p:txBody>
      </p:sp>
    </p:spTree>
    <p:extLst>
      <p:ext uri="{BB962C8B-B14F-4D97-AF65-F5344CB8AC3E}">
        <p14:creationId xmlns:p14="http://schemas.microsoft.com/office/powerpoint/2010/main" val="2098070622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AAC0A-6736-92D5-CD95-FD603DCC4C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91898A7-CDD2-E48C-2B4B-40E4C87E90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A8C0169-775E-ADDF-F12C-30E382E41D7A}"/>
              </a:ext>
            </a:extLst>
          </p:cNvPr>
          <p:cNvSpPr txBox="1"/>
          <p:nvPr/>
        </p:nvSpPr>
        <p:spPr>
          <a:xfrm>
            <a:off x="389169" y="661876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YAML Files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5A339F-2E54-A19C-3704-69696028A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858" y="1314114"/>
            <a:ext cx="3218436" cy="47584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BBF2806-8B3A-B029-E82F-357B84153029}"/>
              </a:ext>
            </a:extLst>
          </p:cNvPr>
          <p:cNvSpPr txBox="1"/>
          <p:nvPr/>
        </p:nvSpPr>
        <p:spPr>
          <a:xfrm>
            <a:off x="5006142" y="1524000"/>
            <a:ext cx="6504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AML maps define a key and value</a:t>
            </a:r>
          </a:p>
          <a:p>
            <a:endParaRPr lang="en-US" dirty="0"/>
          </a:p>
          <a:p>
            <a:r>
              <a:rPr lang="en-US" dirty="0"/>
              <a:t>YAML lists can be used to define a sequence of items</a:t>
            </a:r>
          </a:p>
          <a:p>
            <a:endParaRPr lang="en-US" dirty="0"/>
          </a:p>
          <a:p>
            <a:r>
              <a:rPr lang="en-US" dirty="0"/>
              <a:t>YAML lists can define a </a:t>
            </a:r>
            <a:r>
              <a:rPr lang="en-US" dirty="0" err="1"/>
              <a:t>sequesnce</a:t>
            </a:r>
            <a:r>
              <a:rPr lang="en-US" dirty="0"/>
              <a:t> map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73A2E5-9968-3BFE-5071-F02AE4F20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9850" y="3152724"/>
            <a:ext cx="3076885" cy="315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864801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7471E4-0538-60AB-EA04-012E62E68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A21C8C4-7540-C915-B137-74E9826CD6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673B6A2-C969-144E-BB21-585B7B4DAFF6}"/>
              </a:ext>
            </a:extLst>
          </p:cNvPr>
          <p:cNvSpPr txBox="1"/>
          <p:nvPr/>
        </p:nvSpPr>
        <p:spPr>
          <a:xfrm>
            <a:off x="389169" y="661876"/>
            <a:ext cx="96223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Break Time</a:t>
            </a:r>
          </a:p>
          <a:p>
            <a:endParaRPr lang="en-US" sz="4000" b="1" dirty="0">
              <a:latin typeface="Gilroy LİGHT" panose="00000400000000000000"/>
            </a:endParaRPr>
          </a:p>
        </p:txBody>
      </p:sp>
      <p:pic>
        <p:nvPicPr>
          <p:cNvPr id="3" name="Graphic 2" descr="Stopwatch 66% with solid fill">
            <a:extLst>
              <a:ext uri="{FF2B5EF4-FFF2-40B4-BE49-F238E27FC236}">
                <a16:creationId xmlns:a16="http://schemas.microsoft.com/office/drawing/2014/main" id="{3BBA395E-5D23-4B17-53C8-39087288F4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26708" y="2259000"/>
            <a:ext cx="2340000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58572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E71024-6AC4-2DA3-C0D2-70BDDA22A9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Light" panose="00000400000000000000" pitchFamily="50" charset="0"/>
                <a:cs typeface="Helvetic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 Light" panose="00000400000000000000" pitchFamily="50" charset="0"/>
              <a:cs typeface="Helvetic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367116-A885-EA2F-A4F6-49FA9B2C36E3}"/>
              </a:ext>
            </a:extLst>
          </p:cNvPr>
          <p:cNvSpPr/>
          <p:nvPr/>
        </p:nvSpPr>
        <p:spPr>
          <a:xfrm>
            <a:off x="840721" y="2216250"/>
            <a:ext cx="10510559" cy="25545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96000" rIns="180000" rtlCol="0" anchor="ctr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Mastering the Art of DevOps to Build Resilient, Scalable, and Efficient Systems in a Rapidly Evolving Digital Landscape.</a:t>
            </a:r>
            <a:endParaRPr lang="en-US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200669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BC674-6622-F4E8-480D-ABF9B7953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8808C97-2DB0-22A9-1629-6C53B8C359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AE15E2D-41F1-79F2-1A87-61C7410DD764}"/>
              </a:ext>
            </a:extLst>
          </p:cNvPr>
          <p:cNvSpPr txBox="1"/>
          <p:nvPr/>
        </p:nvSpPr>
        <p:spPr>
          <a:xfrm>
            <a:off x="377446" y="472357"/>
            <a:ext cx="11802831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Gilroy LİGHT" panose="00000400000000000000"/>
              </a:rPr>
              <a:t>Pod Health:</a:t>
            </a:r>
          </a:p>
          <a:p>
            <a:endParaRPr lang="en-US" sz="4000" b="1" dirty="0">
              <a:latin typeface="Gilroy LİGHT" panose="00000400000000000000"/>
            </a:endParaRPr>
          </a:p>
          <a:p>
            <a:r>
              <a:rPr lang="en-US" sz="4000" b="1" dirty="0">
                <a:latin typeface="Gilroy LİGHT" panose="00000400000000000000"/>
              </a:rPr>
              <a:t>	Readiness Probe:</a:t>
            </a:r>
          </a:p>
          <a:p>
            <a:r>
              <a:rPr lang="en-US" sz="4000" b="1" dirty="0">
                <a:latin typeface="Gilroy LİGHT" panose="00000400000000000000"/>
              </a:rPr>
              <a:t>		- </a:t>
            </a:r>
            <a:r>
              <a:rPr lang="en-US" sz="2400" dirty="0">
                <a:latin typeface="Gilroy LİGHT" panose="00000400000000000000"/>
              </a:rPr>
              <a:t>when should a container start receiving traffic?</a:t>
            </a:r>
          </a:p>
          <a:p>
            <a:r>
              <a:rPr lang="en-US" sz="2400" dirty="0">
                <a:latin typeface="Gilroy LİGHT" panose="00000400000000000000"/>
              </a:rPr>
              <a:t>			Readiness probes can be used to determine if a pod 			should receive request.</a:t>
            </a:r>
          </a:p>
          <a:p>
            <a:endParaRPr lang="en-US" sz="4000" b="1" dirty="0">
              <a:latin typeface="Gilroy LİGHT" panose="00000400000000000000"/>
            </a:endParaRPr>
          </a:p>
          <a:p>
            <a:r>
              <a:rPr lang="en-US" sz="4000" b="1" dirty="0">
                <a:latin typeface="Gilroy LİGHT" panose="00000400000000000000"/>
              </a:rPr>
              <a:t>	Liveness Probe</a:t>
            </a:r>
          </a:p>
          <a:p>
            <a:r>
              <a:rPr lang="en-US" sz="4000" dirty="0">
                <a:latin typeface="Gilroy LİGHT" panose="00000400000000000000"/>
              </a:rPr>
              <a:t>		- </a:t>
            </a:r>
            <a:r>
              <a:rPr lang="en-US" sz="2400" dirty="0">
                <a:latin typeface="Gilroy LİGHT" panose="00000400000000000000"/>
              </a:rPr>
              <a:t>When should a container restart?</a:t>
            </a:r>
          </a:p>
          <a:p>
            <a:r>
              <a:rPr lang="en-US" sz="2400" dirty="0">
                <a:latin typeface="Gilroy LİGHT" panose="00000400000000000000"/>
              </a:rPr>
              <a:t>			Liveness probes can be </a:t>
            </a:r>
            <a:r>
              <a:rPr lang="en-US" sz="2400" dirty="0" err="1">
                <a:latin typeface="Gilroy LİGHT" panose="00000400000000000000"/>
              </a:rPr>
              <a:t>userd</a:t>
            </a:r>
            <a:r>
              <a:rPr lang="en-US" sz="2400" dirty="0">
                <a:latin typeface="Gilroy LİGHT" panose="00000400000000000000"/>
              </a:rPr>
              <a:t> to determine if a pod is 			healthy and running as expected</a:t>
            </a:r>
            <a:endParaRPr lang="en-US" sz="4000" dirty="0">
              <a:latin typeface="Gilroy LİGHT" panose="00000400000000000000"/>
            </a:endParaRPr>
          </a:p>
          <a:p>
            <a:endParaRPr lang="en-US" sz="4000" b="1" dirty="0">
              <a:latin typeface="Gilroy LİGHT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190783063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1CDBB-CE2B-5821-52DF-2123EB1DE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2836EEE-A1CD-CBB1-1825-5590A2CBB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67221D1-623D-73DF-4FB9-C0D62207B9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721" y="1427034"/>
            <a:ext cx="8859350" cy="51706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726756A-BFB8-70C1-D7E4-90B516F65FB3}"/>
              </a:ext>
            </a:extLst>
          </p:cNvPr>
          <p:cNvSpPr txBox="1"/>
          <p:nvPr/>
        </p:nvSpPr>
        <p:spPr>
          <a:xfrm>
            <a:off x="827721" y="738554"/>
            <a:ext cx="27243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Liveness Probe: </a:t>
            </a:r>
          </a:p>
        </p:txBody>
      </p:sp>
    </p:spTree>
    <p:extLst>
      <p:ext uri="{BB962C8B-B14F-4D97-AF65-F5344CB8AC3E}">
        <p14:creationId xmlns:p14="http://schemas.microsoft.com/office/powerpoint/2010/main" val="961733047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3D26F-D2A1-30AC-65A5-72C19E5DF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EAC8B24-8477-158C-BA3F-0897218B63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2D9CDB3-E60D-A4CA-5AA8-D680DF28442C}"/>
              </a:ext>
            </a:extLst>
          </p:cNvPr>
          <p:cNvSpPr txBox="1"/>
          <p:nvPr/>
        </p:nvSpPr>
        <p:spPr>
          <a:xfrm>
            <a:off x="827721" y="738554"/>
            <a:ext cx="27243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Readiness Probe: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A9131A-93E4-A6C8-306C-C9DD00A6EE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49" y="1586553"/>
            <a:ext cx="9022677" cy="4068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69293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9D1970-9C8F-08B9-F314-9C364C562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FA2B39E-D675-FE2A-3C93-8E834534B5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17E63304-B1C9-5F6C-DEAB-14B9ADAA412F}"/>
              </a:ext>
            </a:extLst>
          </p:cNvPr>
          <p:cNvSpPr/>
          <p:nvPr/>
        </p:nvSpPr>
        <p:spPr>
          <a:xfrm>
            <a:off x="4218998" y="222738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7B633F6D-BA03-F756-F4B7-71E2D848F2E1}"/>
              </a:ext>
            </a:extLst>
          </p:cNvPr>
          <p:cNvSpPr/>
          <p:nvPr/>
        </p:nvSpPr>
        <p:spPr>
          <a:xfrm>
            <a:off x="4605949" y="275060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975540-D41E-507E-CD0C-BE73574F507C}"/>
              </a:ext>
            </a:extLst>
          </p:cNvPr>
          <p:cNvSpPr txBox="1"/>
          <p:nvPr/>
        </p:nvSpPr>
        <p:spPr>
          <a:xfrm>
            <a:off x="4218998" y="222738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DC527E-10FB-A6EE-22A5-C53FD56B7013}"/>
              </a:ext>
            </a:extLst>
          </p:cNvPr>
          <p:cNvSpPr txBox="1"/>
          <p:nvPr/>
        </p:nvSpPr>
        <p:spPr>
          <a:xfrm>
            <a:off x="430200" y="856462"/>
            <a:ext cx="4822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Deployments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FC40D3D6-0A95-7AEF-BE5F-36A8A287CE44}"/>
              </a:ext>
            </a:extLst>
          </p:cNvPr>
          <p:cNvSpPr/>
          <p:nvPr/>
        </p:nvSpPr>
        <p:spPr>
          <a:xfrm>
            <a:off x="6778057" y="2227386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0C1E95D0-F95D-FA84-18FB-6897B5DF6612}"/>
              </a:ext>
            </a:extLst>
          </p:cNvPr>
          <p:cNvSpPr/>
          <p:nvPr/>
        </p:nvSpPr>
        <p:spPr>
          <a:xfrm>
            <a:off x="7165008" y="2750607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829F0B-63F0-775A-8982-F74CABB6D2D0}"/>
              </a:ext>
            </a:extLst>
          </p:cNvPr>
          <p:cNvSpPr txBox="1"/>
          <p:nvPr/>
        </p:nvSpPr>
        <p:spPr>
          <a:xfrm>
            <a:off x="6778057" y="2227386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34040842-953F-DA55-1BD6-6D26BDDF25F5}"/>
              </a:ext>
            </a:extLst>
          </p:cNvPr>
          <p:cNvSpPr/>
          <p:nvPr/>
        </p:nvSpPr>
        <p:spPr>
          <a:xfrm>
            <a:off x="9296221" y="220872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16424B78-FD4C-6609-5CC9-F1571FF13123}"/>
              </a:ext>
            </a:extLst>
          </p:cNvPr>
          <p:cNvSpPr/>
          <p:nvPr/>
        </p:nvSpPr>
        <p:spPr>
          <a:xfrm>
            <a:off x="9683172" y="273194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08ACF0-6B1A-4A47-257D-1E314C1EDF9C}"/>
              </a:ext>
            </a:extLst>
          </p:cNvPr>
          <p:cNvSpPr txBox="1"/>
          <p:nvPr/>
        </p:nvSpPr>
        <p:spPr>
          <a:xfrm>
            <a:off x="9296221" y="220872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AB256FD6-F125-3279-434D-EA079C718260}"/>
              </a:ext>
            </a:extLst>
          </p:cNvPr>
          <p:cNvSpPr/>
          <p:nvPr/>
        </p:nvSpPr>
        <p:spPr>
          <a:xfrm>
            <a:off x="4218998" y="4190125"/>
            <a:ext cx="7492086" cy="481432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26FA95ED-40CC-37E4-25DF-0A40CB3C9364}"/>
              </a:ext>
            </a:extLst>
          </p:cNvPr>
          <p:cNvSpPr/>
          <p:nvPr/>
        </p:nvSpPr>
        <p:spPr>
          <a:xfrm>
            <a:off x="221429" y="2284948"/>
            <a:ext cx="3739717" cy="15858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EC2B98E-D768-FFFC-01DC-8E69D129C384}"/>
              </a:ext>
            </a:extLst>
          </p:cNvPr>
          <p:cNvSpPr/>
          <p:nvPr/>
        </p:nvSpPr>
        <p:spPr>
          <a:xfrm>
            <a:off x="608379" y="2808169"/>
            <a:ext cx="2741159" cy="6431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eplicaS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5ABD148-8EB8-C9B0-AB02-1FAA708BF43A}"/>
              </a:ext>
            </a:extLst>
          </p:cNvPr>
          <p:cNvSpPr txBox="1"/>
          <p:nvPr/>
        </p:nvSpPr>
        <p:spPr>
          <a:xfrm>
            <a:off x="221429" y="2284948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557C0F6-8194-E503-0A81-C1A626F08C26}"/>
              </a:ext>
            </a:extLst>
          </p:cNvPr>
          <p:cNvSpPr/>
          <p:nvPr/>
        </p:nvSpPr>
        <p:spPr>
          <a:xfrm flipH="1">
            <a:off x="117230" y="1746937"/>
            <a:ext cx="3960003" cy="2637494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8753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37FE2-4861-25B7-A05F-53C2E18EA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24484B3-AEC4-2959-E656-A6E576B22B0C}"/>
              </a:ext>
            </a:extLst>
          </p:cNvPr>
          <p:cNvSpPr txBox="1"/>
          <p:nvPr/>
        </p:nvSpPr>
        <p:spPr>
          <a:xfrm>
            <a:off x="390209" y="3670989"/>
            <a:ext cx="6538521" cy="1196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A </a:t>
            </a:r>
            <a:r>
              <a:rPr kumimoji="0" lang="en-US" sz="4800" b="1" i="0" u="none" strike="noStrike" kern="1200" cap="none" spc="-150" normalizeH="0" baseline="0" noProof="0" dirty="0" err="1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ReplicaSet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is a declarative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way 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to manage Pods</a:t>
            </a:r>
            <a:endParaRPr kumimoji="0" lang="en-US" sz="4800" b="1" i="0" u="none" strike="noStrike" kern="1200" cap="none" spc="-150" normalizeH="0" baseline="0" noProof="0" dirty="0">
              <a:ln>
                <a:noFill/>
              </a:ln>
              <a:solidFill>
                <a:srgbClr val="0037FF"/>
              </a:solidFill>
              <a:effectLst/>
              <a:uLnTx/>
              <a:uFillTx/>
              <a:latin typeface="Gilroy Light" panose="00000400000000000000" pitchFamily="50" charset="0"/>
              <a:ea typeface="Gilroy-Bold ☞" charset="0"/>
              <a:cs typeface="Gilroy-Bold ☞" charset="0"/>
              <a:sym typeface="Gilroy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618149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F84A55-7C60-E83E-D4EB-1C1B2F257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A93BC-017E-1DC3-2ACC-80EC011D05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F4FF98B-0BB8-C54A-0FCA-F8259E81D679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Deploy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DBAAB2-F68B-437D-E5AB-AF7EE262A47A}"/>
              </a:ext>
            </a:extLst>
          </p:cNvPr>
          <p:cNvSpPr txBox="1"/>
          <p:nvPr/>
        </p:nvSpPr>
        <p:spPr>
          <a:xfrm>
            <a:off x="1078523" y="1271228"/>
            <a:ext cx="8581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</a:t>
            </a:r>
            <a:r>
              <a:rPr lang="en-US" dirty="0" err="1"/>
              <a:t>replicaSet</a:t>
            </a:r>
            <a:r>
              <a:rPr lang="en-US" dirty="0"/>
              <a:t> is a declarative way to manage Po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deployment is a declarative way to manage Pods using a </a:t>
            </a:r>
            <a:r>
              <a:rPr lang="en-US" dirty="0" err="1"/>
              <a:t>replicaSet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501BE9-3882-D500-609D-39303A51A93B}"/>
              </a:ext>
            </a:extLst>
          </p:cNvPr>
          <p:cNvSpPr txBox="1"/>
          <p:nvPr/>
        </p:nvSpPr>
        <p:spPr>
          <a:xfrm>
            <a:off x="1863969" y="2526048"/>
            <a:ext cx="912055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Pods represent the most basic resource in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Can be created and destroyed but are never re-cre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What happens if a pod is destroy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Deployments and </a:t>
            </a:r>
            <a:r>
              <a:rPr lang="en-US" dirty="0" err="1">
                <a:latin typeface="Gilroy LİGHT" panose="00000400000000000000"/>
              </a:rPr>
              <a:t>ReplicaSet</a:t>
            </a:r>
            <a:r>
              <a:rPr lang="en-US" dirty="0">
                <a:latin typeface="Gilroy LİGHT" panose="00000400000000000000"/>
              </a:rPr>
              <a:t> ensure pods stay running and can be used to scale pods.</a:t>
            </a:r>
          </a:p>
        </p:txBody>
      </p:sp>
    </p:spTree>
    <p:extLst>
      <p:ext uri="{BB962C8B-B14F-4D97-AF65-F5344CB8AC3E}">
        <p14:creationId xmlns:p14="http://schemas.microsoft.com/office/powerpoint/2010/main" val="813103424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CF820-0AC1-B81E-57A4-780154B01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A02A33A5-660F-C2B2-23BD-61C20905DAE7}"/>
              </a:ext>
            </a:extLst>
          </p:cNvPr>
          <p:cNvSpPr/>
          <p:nvPr/>
        </p:nvSpPr>
        <p:spPr>
          <a:xfrm>
            <a:off x="5263606" y="3393776"/>
            <a:ext cx="5392671" cy="2707690"/>
          </a:xfrm>
          <a:prstGeom prst="roundRect">
            <a:avLst/>
          </a:prstGeom>
          <a:solidFill>
            <a:srgbClr val="F9432A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154C290-6E4A-B075-9748-33DAB55236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E4565F-B4D6-6841-2152-D1B0D906CD68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The Role of Deploy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A1ADDA-BF26-B3E0-D457-71E50863922F}"/>
              </a:ext>
            </a:extLst>
          </p:cNvPr>
          <p:cNvSpPr txBox="1"/>
          <p:nvPr/>
        </p:nvSpPr>
        <p:spPr>
          <a:xfrm>
            <a:off x="1078523" y="1271228"/>
            <a:ext cx="8581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deployment manages pods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74C30F-F6B9-86C9-028B-B8C7B37FB894}"/>
              </a:ext>
            </a:extLst>
          </p:cNvPr>
          <p:cNvSpPr txBox="1"/>
          <p:nvPr/>
        </p:nvSpPr>
        <p:spPr>
          <a:xfrm>
            <a:off x="1535723" y="1916448"/>
            <a:ext cx="912055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Pods are managed using </a:t>
            </a:r>
            <a:r>
              <a:rPr lang="en-US" dirty="0" err="1">
                <a:latin typeface="Gilroy LİGHT" panose="00000400000000000000"/>
              </a:rPr>
              <a:t>replicaSets</a:t>
            </a:r>
            <a:endParaRPr lang="en-US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Scales </a:t>
            </a:r>
            <a:r>
              <a:rPr lang="en-US" dirty="0" err="1">
                <a:latin typeface="Gilroy LİGHT" panose="00000400000000000000"/>
              </a:rPr>
              <a:t>replicaSets</a:t>
            </a:r>
            <a:r>
              <a:rPr lang="en-US" dirty="0">
                <a:latin typeface="Gilroy LİGHT" panose="00000400000000000000"/>
              </a:rPr>
              <a:t>, which scale p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Supports zero-downtime updated by creating and destroying </a:t>
            </a:r>
            <a:r>
              <a:rPr lang="en-US" dirty="0" err="1">
                <a:latin typeface="Gilroy LİGHT" panose="00000400000000000000"/>
              </a:rPr>
              <a:t>replicaSets</a:t>
            </a:r>
            <a:endParaRPr lang="en-US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roy LİGHT" panose="00000400000000000000"/>
              </a:rPr>
              <a:t>Provides rollback function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47BAFEF9-8F12-5B58-10E1-0B4175E91ECA}"/>
              </a:ext>
            </a:extLst>
          </p:cNvPr>
          <p:cNvSpPr/>
          <p:nvPr/>
        </p:nvSpPr>
        <p:spPr>
          <a:xfrm>
            <a:off x="5650556" y="3960169"/>
            <a:ext cx="4607136" cy="1784028"/>
          </a:xfrm>
          <a:prstGeom prst="roundRect">
            <a:avLst/>
          </a:prstGeom>
          <a:solidFill>
            <a:srgbClr val="0036FE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85109F44-A756-53D9-1AEF-AD1476FBCE0D}"/>
              </a:ext>
            </a:extLst>
          </p:cNvPr>
          <p:cNvSpPr/>
          <p:nvPr/>
        </p:nvSpPr>
        <p:spPr>
          <a:xfrm>
            <a:off x="6252217" y="4498474"/>
            <a:ext cx="3538328" cy="1034058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BFD7F4-ED8A-D04D-3A8B-7FAB07DF378A}"/>
              </a:ext>
            </a:extLst>
          </p:cNvPr>
          <p:cNvSpPr txBox="1"/>
          <p:nvPr/>
        </p:nvSpPr>
        <p:spPr>
          <a:xfrm>
            <a:off x="6902977" y="3479849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C47B28-AAB3-578E-2865-50D3D211596A}"/>
              </a:ext>
            </a:extLst>
          </p:cNvPr>
          <p:cNvSpPr txBox="1"/>
          <p:nvPr/>
        </p:nvSpPr>
        <p:spPr>
          <a:xfrm>
            <a:off x="7305253" y="4073518"/>
            <a:ext cx="1942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solidFill>
                  <a:schemeClr val="bg1"/>
                </a:solidFill>
                <a:latin typeface="Gilroy LİGHT" panose="00000400000000000000"/>
              </a:rPr>
              <a:t>ReplicaSet</a:t>
            </a:r>
            <a:endParaRPr lang="en-US" sz="2400" dirty="0">
              <a:solidFill>
                <a:schemeClr val="bg1"/>
              </a:solidFill>
              <a:latin typeface="Gilroy LİGHT" panose="0000040000000000000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C1FD44-8486-2E94-4D96-A9D88C2B0DEB}"/>
              </a:ext>
            </a:extLst>
          </p:cNvPr>
          <p:cNvSpPr txBox="1"/>
          <p:nvPr/>
        </p:nvSpPr>
        <p:spPr>
          <a:xfrm>
            <a:off x="7689061" y="4529152"/>
            <a:ext cx="820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AAAB9C26-4046-350E-77E1-A65457A904BF}"/>
              </a:ext>
            </a:extLst>
          </p:cNvPr>
          <p:cNvSpPr/>
          <p:nvPr/>
        </p:nvSpPr>
        <p:spPr>
          <a:xfrm>
            <a:off x="7031946" y="4960139"/>
            <a:ext cx="2134844" cy="462260"/>
          </a:xfrm>
          <a:prstGeom prst="roundRect">
            <a:avLst/>
          </a:prstGeom>
          <a:solidFill>
            <a:srgbClr val="00197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pic>
        <p:nvPicPr>
          <p:cNvPr id="2052" name="Picture 4" descr="YAML File icon PNG and SVG Vector Free Download">
            <a:extLst>
              <a:ext uri="{FF2B5EF4-FFF2-40B4-BE49-F238E27FC236}">
                <a16:creationId xmlns:a16="http://schemas.microsoft.com/office/drawing/2014/main" id="{6A053D22-A420-2832-D20E-3E3D89660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93" y="3993760"/>
            <a:ext cx="1086006" cy="1155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AA66C1C-1046-1AA9-D0D4-A482E8391D10}"/>
              </a:ext>
            </a:extLst>
          </p:cNvPr>
          <p:cNvCxnSpPr>
            <a:cxnSpLocks/>
          </p:cNvCxnSpPr>
          <p:nvPr/>
        </p:nvCxnSpPr>
        <p:spPr>
          <a:xfrm>
            <a:off x="2204807" y="4759984"/>
            <a:ext cx="26770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D7CCF7A-6A14-5DEF-2643-ABF37207BD2C}"/>
              </a:ext>
            </a:extLst>
          </p:cNvPr>
          <p:cNvSpPr/>
          <p:nvPr/>
        </p:nvSpPr>
        <p:spPr>
          <a:xfrm>
            <a:off x="2612992" y="4091538"/>
            <a:ext cx="2124096" cy="462260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kubect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2280465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E5833-311F-CD96-2704-CFE2303FB4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7">
            <a:extLst>
              <a:ext uri="{FF2B5EF4-FFF2-40B4-BE49-F238E27FC236}">
                <a16:creationId xmlns:a16="http://schemas.microsoft.com/office/drawing/2014/main" id="{E99C353B-04FC-53CF-A159-FBECBAC792D5}"/>
              </a:ext>
            </a:extLst>
          </p:cNvPr>
          <p:cNvSpPr/>
          <p:nvPr/>
        </p:nvSpPr>
        <p:spPr>
          <a:xfrm>
            <a:off x="5901325" y="1552291"/>
            <a:ext cx="5821752" cy="3594140"/>
          </a:xfrm>
          <a:prstGeom prst="roundRect">
            <a:avLst/>
          </a:prstGeom>
          <a:solidFill>
            <a:srgbClr val="0036FE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969E61-929C-6F5C-66A3-BCB9CC6AD2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58F320-74E2-E988-8E6A-BB7CB11A4372}"/>
              </a:ext>
            </a:extLst>
          </p:cNvPr>
          <p:cNvSpPr txBox="1"/>
          <p:nvPr/>
        </p:nvSpPr>
        <p:spPr>
          <a:xfrm>
            <a:off x="487752" y="626720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Nginx-</a:t>
            </a:r>
            <a:r>
              <a:rPr lang="en-US" sz="2400" b="1" dirty="0" err="1">
                <a:latin typeface="Gilroy LİGHT" panose="00000400000000000000"/>
              </a:rPr>
              <a:t>deployment.yaml</a:t>
            </a:r>
            <a:endParaRPr lang="en-US" sz="2400" b="1" dirty="0">
              <a:latin typeface="Gilroy LİGHT" panose="0000040000000000000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83B9EB-27F6-E9C4-2823-A5235CA04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563" y="1088385"/>
            <a:ext cx="4653793" cy="550930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BC70781-9B11-B773-F647-EEF0942D511D}"/>
              </a:ext>
            </a:extLst>
          </p:cNvPr>
          <p:cNvSpPr txBox="1"/>
          <p:nvPr/>
        </p:nvSpPr>
        <p:spPr>
          <a:xfrm>
            <a:off x="6096000" y="2195199"/>
            <a:ext cx="59318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create –f nginx-</a:t>
            </a:r>
            <a:r>
              <a:rPr lang="en-US" dirty="0" err="1">
                <a:solidFill>
                  <a:schemeClr val="bg1"/>
                </a:solidFill>
              </a:rPr>
              <a:t>deployment.yaml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apply –f nginx-</a:t>
            </a:r>
            <a:r>
              <a:rPr lang="en-US" dirty="0" err="1">
                <a:solidFill>
                  <a:schemeClr val="bg1"/>
                </a:solidFill>
              </a:rPr>
              <a:t>deployment.yaml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get deployment –show-lab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get deployment –l app=ngin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delete deployment </a:t>
            </a:r>
            <a:r>
              <a:rPr lang="en-US" dirty="0" err="1">
                <a:solidFill>
                  <a:schemeClr val="bg1"/>
                </a:solidFill>
              </a:rPr>
              <a:t>deploymentNam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scale deployment </a:t>
            </a:r>
            <a:r>
              <a:rPr lang="en-US" dirty="0" err="1">
                <a:solidFill>
                  <a:schemeClr val="bg1"/>
                </a:solidFill>
              </a:rPr>
              <a:t>deploymentName</a:t>
            </a:r>
            <a:r>
              <a:rPr lang="en-US" dirty="0">
                <a:solidFill>
                  <a:schemeClr val="bg1"/>
                </a:solidFill>
              </a:rPr>
              <a:t> –replicas=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Kubectl</a:t>
            </a:r>
            <a:r>
              <a:rPr lang="en-US" dirty="0">
                <a:solidFill>
                  <a:schemeClr val="bg1"/>
                </a:solidFill>
              </a:rPr>
              <a:t> scale –f nginx-</a:t>
            </a:r>
            <a:r>
              <a:rPr lang="en-US" dirty="0" err="1">
                <a:solidFill>
                  <a:schemeClr val="bg1"/>
                </a:solidFill>
              </a:rPr>
              <a:t>deployment.yaml</a:t>
            </a:r>
            <a:r>
              <a:rPr lang="en-US" dirty="0">
                <a:solidFill>
                  <a:schemeClr val="bg1"/>
                </a:solidFill>
              </a:rPr>
              <a:t> –replicas=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3124D85-434C-87B7-6167-B58F4FC6EB66}"/>
              </a:ext>
            </a:extLst>
          </p:cNvPr>
          <p:cNvSpPr/>
          <p:nvPr/>
        </p:nvSpPr>
        <p:spPr>
          <a:xfrm>
            <a:off x="1277996" y="2195199"/>
            <a:ext cx="1194748" cy="290424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292932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9E89C-9693-2DA6-C26F-70E7DF20F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6B6F060-79F9-7F0D-9243-4A8EFA9C8B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9B8F100-4931-434A-DBF2-D6398FEAE13F}"/>
              </a:ext>
            </a:extLst>
          </p:cNvPr>
          <p:cNvSpPr txBox="1"/>
          <p:nvPr/>
        </p:nvSpPr>
        <p:spPr>
          <a:xfrm>
            <a:off x="827721" y="738554"/>
            <a:ext cx="6075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How Do You Update Existing Pods?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5FA3072-CBD6-81CC-3317-2A5A3073E119}"/>
              </a:ext>
            </a:extLst>
          </p:cNvPr>
          <p:cNvSpPr/>
          <p:nvPr/>
        </p:nvSpPr>
        <p:spPr>
          <a:xfrm>
            <a:off x="1374753" y="2165582"/>
            <a:ext cx="3982029" cy="1492018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B9C0B0-AEFA-B9B9-B795-93F1C99E4B68}"/>
              </a:ext>
            </a:extLst>
          </p:cNvPr>
          <p:cNvSpPr txBox="1"/>
          <p:nvPr/>
        </p:nvSpPr>
        <p:spPr>
          <a:xfrm>
            <a:off x="6902977" y="3479849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751F56-48B1-FB54-E715-57F5585697D0}"/>
              </a:ext>
            </a:extLst>
          </p:cNvPr>
          <p:cNvSpPr txBox="1"/>
          <p:nvPr/>
        </p:nvSpPr>
        <p:spPr>
          <a:xfrm>
            <a:off x="2917769" y="2196260"/>
            <a:ext cx="923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569F3A2E-C455-B32A-AB27-C645A4C5A42E}"/>
              </a:ext>
            </a:extLst>
          </p:cNvPr>
          <p:cNvSpPr/>
          <p:nvPr/>
        </p:nvSpPr>
        <p:spPr>
          <a:xfrm>
            <a:off x="2195908" y="2627247"/>
            <a:ext cx="2402550" cy="666984"/>
          </a:xfrm>
          <a:prstGeom prst="roundRect">
            <a:avLst/>
          </a:prstGeom>
          <a:solidFill>
            <a:srgbClr val="00197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0259669A-CC9E-1EA5-E67A-78DE625DADB1}"/>
              </a:ext>
            </a:extLst>
          </p:cNvPr>
          <p:cNvSpPr/>
          <p:nvPr/>
        </p:nvSpPr>
        <p:spPr>
          <a:xfrm>
            <a:off x="7013553" y="2165582"/>
            <a:ext cx="3982029" cy="1492018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90BB1E-E27E-5FF6-C4CF-229B7609DD73}"/>
              </a:ext>
            </a:extLst>
          </p:cNvPr>
          <p:cNvSpPr txBox="1"/>
          <p:nvPr/>
        </p:nvSpPr>
        <p:spPr>
          <a:xfrm>
            <a:off x="8556569" y="2226938"/>
            <a:ext cx="923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BA4D3505-9899-B12D-8129-2477F0D86C72}"/>
              </a:ext>
            </a:extLst>
          </p:cNvPr>
          <p:cNvSpPr/>
          <p:nvPr/>
        </p:nvSpPr>
        <p:spPr>
          <a:xfrm>
            <a:off x="7899454" y="2657925"/>
            <a:ext cx="2402550" cy="666984"/>
          </a:xfrm>
          <a:prstGeom prst="roundRect">
            <a:avLst/>
          </a:prstGeom>
          <a:solidFill>
            <a:srgbClr val="00197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F7D0F0-40B3-BE61-18D7-4C438007E77C}"/>
              </a:ext>
            </a:extLst>
          </p:cNvPr>
          <p:cNvCxnSpPr>
            <a:cxnSpLocks/>
            <a:stCxn id="8" idx="3"/>
            <a:endCxn id="3" idx="1"/>
          </p:cNvCxnSpPr>
          <p:nvPr/>
        </p:nvCxnSpPr>
        <p:spPr>
          <a:xfrm>
            <a:off x="5356782" y="2911591"/>
            <a:ext cx="16567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A24DCF3-D7FF-BD9F-8490-61DE74F555C6}"/>
              </a:ext>
            </a:extLst>
          </p:cNvPr>
          <p:cNvSpPr txBox="1"/>
          <p:nvPr/>
        </p:nvSpPr>
        <p:spPr>
          <a:xfrm>
            <a:off x="5711625" y="2453384"/>
            <a:ext cx="1301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Upda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D9FDA6-E343-3D25-0E5A-7DCCE4DC57A9}"/>
              </a:ext>
            </a:extLst>
          </p:cNvPr>
          <p:cNvSpPr txBox="1"/>
          <p:nvPr/>
        </p:nvSpPr>
        <p:spPr>
          <a:xfrm>
            <a:off x="2205673" y="3818403"/>
            <a:ext cx="2392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ginx:1.0.0-alpin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753E5D-36C3-D879-DAFA-50261C8D23E4}"/>
              </a:ext>
            </a:extLst>
          </p:cNvPr>
          <p:cNvSpPr txBox="1"/>
          <p:nvPr/>
        </p:nvSpPr>
        <p:spPr>
          <a:xfrm>
            <a:off x="8099369" y="378298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Nginx:1.0.1-alpine</a:t>
            </a:r>
          </a:p>
        </p:txBody>
      </p:sp>
    </p:spTree>
    <p:extLst>
      <p:ext uri="{BB962C8B-B14F-4D97-AF65-F5344CB8AC3E}">
        <p14:creationId xmlns:p14="http://schemas.microsoft.com/office/powerpoint/2010/main" val="4072414467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0D54D5-2203-7D9A-D11E-B150E204A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059CDC7-B4DC-B28A-7B26-4193AB84B1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A27CAC-E3C5-3ABC-E0EB-AD8F7C72AE2D}"/>
              </a:ext>
            </a:extLst>
          </p:cNvPr>
          <p:cNvSpPr txBox="1"/>
          <p:nvPr/>
        </p:nvSpPr>
        <p:spPr>
          <a:xfrm>
            <a:off x="827720" y="738554"/>
            <a:ext cx="8581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is zero downtime deploy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06F56D-EAEA-87BB-E506-D6CB9B7477A8}"/>
              </a:ext>
            </a:extLst>
          </p:cNvPr>
          <p:cNvSpPr txBox="1"/>
          <p:nvPr/>
        </p:nvSpPr>
        <p:spPr>
          <a:xfrm>
            <a:off x="1078523" y="1271228"/>
            <a:ext cx="85812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Update an application’s Pods without impacting end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C09F5E-6261-5C4E-87F7-4F2526CBCB03}"/>
              </a:ext>
            </a:extLst>
          </p:cNvPr>
          <p:cNvSpPr txBox="1"/>
          <p:nvPr/>
        </p:nvSpPr>
        <p:spPr>
          <a:xfrm>
            <a:off x="1078523" y="2698489"/>
            <a:ext cx="912055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ilroy LİGHT" panose="00000400000000000000"/>
              </a:rPr>
              <a:t>Canary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ilroy LİGHT" panose="00000400000000000000"/>
              </a:rPr>
              <a:t>Blue-green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ilroy LİGHT" panose="00000400000000000000"/>
              </a:rPr>
              <a:t>Rollb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ilroy LİGHT" panose="00000400000000000000"/>
              </a:rPr>
              <a:t>Rolling upd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ilroy LİGHT" panose="0000040000000000000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F11B28-169B-EAC2-7971-FC02B2718B04}"/>
              </a:ext>
            </a:extLst>
          </p:cNvPr>
          <p:cNvSpPr txBox="1"/>
          <p:nvPr/>
        </p:nvSpPr>
        <p:spPr>
          <a:xfrm>
            <a:off x="827720" y="1987286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is zero downtime deployments</a:t>
            </a: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1507B0B3-7171-A378-E6D5-9E468F153842}"/>
              </a:ext>
            </a:extLst>
          </p:cNvPr>
          <p:cNvSpPr/>
          <p:nvPr/>
        </p:nvSpPr>
        <p:spPr>
          <a:xfrm>
            <a:off x="5650556" y="3429000"/>
            <a:ext cx="5392671" cy="2707690"/>
          </a:xfrm>
          <a:prstGeom prst="roundRect">
            <a:avLst/>
          </a:prstGeom>
          <a:solidFill>
            <a:srgbClr val="F9432A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B6CFF81E-F55A-6CA0-57FD-68F46CF990DD}"/>
              </a:ext>
            </a:extLst>
          </p:cNvPr>
          <p:cNvSpPr/>
          <p:nvPr/>
        </p:nvSpPr>
        <p:spPr>
          <a:xfrm>
            <a:off x="6037506" y="3995393"/>
            <a:ext cx="4607136" cy="1784028"/>
          </a:xfrm>
          <a:prstGeom prst="roundRect">
            <a:avLst/>
          </a:prstGeom>
          <a:solidFill>
            <a:srgbClr val="0036FE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9" name="Rounded Rectangle 17">
            <a:extLst>
              <a:ext uri="{FF2B5EF4-FFF2-40B4-BE49-F238E27FC236}">
                <a16:creationId xmlns:a16="http://schemas.microsoft.com/office/drawing/2014/main" id="{B3F04A7A-39B3-DE8A-201C-A4BB412A9408}"/>
              </a:ext>
            </a:extLst>
          </p:cNvPr>
          <p:cNvSpPr/>
          <p:nvPr/>
        </p:nvSpPr>
        <p:spPr>
          <a:xfrm>
            <a:off x="6639167" y="4533698"/>
            <a:ext cx="3538328" cy="1034058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320AB6-6FB9-718C-B756-9182848E50A0}"/>
              </a:ext>
            </a:extLst>
          </p:cNvPr>
          <p:cNvSpPr txBox="1"/>
          <p:nvPr/>
        </p:nvSpPr>
        <p:spPr>
          <a:xfrm>
            <a:off x="7289927" y="3515073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869FD0-4C33-62FE-F226-208E8F1D2A1D}"/>
              </a:ext>
            </a:extLst>
          </p:cNvPr>
          <p:cNvSpPr txBox="1"/>
          <p:nvPr/>
        </p:nvSpPr>
        <p:spPr>
          <a:xfrm>
            <a:off x="7692203" y="4108742"/>
            <a:ext cx="1942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solidFill>
                  <a:schemeClr val="bg1"/>
                </a:solidFill>
                <a:latin typeface="Gilroy LİGHT" panose="00000400000000000000"/>
              </a:rPr>
              <a:t>ReplicaSet</a:t>
            </a:r>
            <a:endParaRPr lang="en-US" sz="2400" dirty="0">
              <a:solidFill>
                <a:schemeClr val="bg1"/>
              </a:solidFill>
              <a:latin typeface="Gilroy LİGHT" panose="0000040000000000000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DFA3179-77B6-D0B3-8E25-BC2183FFD8C0}"/>
              </a:ext>
            </a:extLst>
          </p:cNvPr>
          <p:cNvSpPr txBox="1"/>
          <p:nvPr/>
        </p:nvSpPr>
        <p:spPr>
          <a:xfrm>
            <a:off x="8076011" y="4564376"/>
            <a:ext cx="820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FAAAF71A-B3AF-9086-1661-404DE1EE9403}"/>
              </a:ext>
            </a:extLst>
          </p:cNvPr>
          <p:cNvSpPr/>
          <p:nvPr/>
        </p:nvSpPr>
        <p:spPr>
          <a:xfrm>
            <a:off x="7418896" y="4995363"/>
            <a:ext cx="2134844" cy="462260"/>
          </a:xfrm>
          <a:prstGeom prst="roundRect">
            <a:avLst/>
          </a:prstGeom>
          <a:solidFill>
            <a:srgbClr val="00197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</p:spTree>
    <p:extLst>
      <p:ext uri="{BB962C8B-B14F-4D97-AF65-F5344CB8AC3E}">
        <p14:creationId xmlns:p14="http://schemas.microsoft.com/office/powerpoint/2010/main" val="388003107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5C5D557-B48E-04A4-7F1A-ECA4158C5AEB}"/>
              </a:ext>
            </a:extLst>
          </p:cNvPr>
          <p:cNvSpPr txBox="1"/>
          <p:nvPr/>
        </p:nvSpPr>
        <p:spPr>
          <a:xfrm>
            <a:off x="377446" y="790519"/>
            <a:ext cx="11340000" cy="377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tr-TR" sz="3000" b="1" i="0" u="none" strike="noStrike" kern="0" cap="none" spc="-1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Meet</a:t>
            </a:r>
            <a:r>
              <a:rPr kumimoji="0" lang="tr-TR" sz="3000" b="1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</a:t>
            </a:r>
            <a:r>
              <a:rPr kumimoji="0" lang="tr-TR" sz="3000" b="1" i="0" u="none" strike="noStrike" kern="0" cap="none" spc="-1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your</a:t>
            </a:r>
            <a:r>
              <a:rPr kumimoji="0" lang="tr-TR" sz="3000" b="1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</a:t>
            </a:r>
            <a:r>
              <a:rPr kumimoji="0" lang="tr-TR" sz="3000" b="1" i="0" u="none" strike="noStrike" kern="0" cap="none" spc="-1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faculty</a:t>
            </a:r>
            <a:r>
              <a:rPr kumimoji="0" lang="tr-TR" sz="3000" b="1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!</a:t>
            </a:r>
            <a:endParaRPr kumimoji="0" lang="en-US" sz="3000" b="1" i="0" u="none" strike="noStrike" kern="0" cap="none" spc="-1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Light" panose="00000400000000000000" pitchFamily="50" charset="0"/>
              <a:ea typeface="Gilroy-Bold ☞" charset="0"/>
              <a:cs typeface="Gilroy-Bold ☞" charset="0"/>
              <a:sym typeface="Gilroy" panose="00000500000000000000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0EFB33-C5FE-855C-1F11-A2E15602B24F}"/>
              </a:ext>
            </a:extLst>
          </p:cNvPr>
          <p:cNvSpPr txBox="1"/>
          <p:nvPr/>
        </p:nvSpPr>
        <p:spPr>
          <a:xfrm>
            <a:off x="1345327" y="3429000"/>
            <a:ext cx="1395573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33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err="1">
                <a:ln>
                  <a:noFill/>
                </a:ln>
                <a:solidFill>
                  <a:srgbClr val="0D41FF"/>
                </a:solidFill>
                <a:effectLst/>
                <a:uFillTx/>
                <a:latin typeface="Gilroy Bold" panose="00000800000000000000" pitchFamily="50" charset="0"/>
                <a:sym typeface="Helvetica"/>
              </a:rPr>
              <a:t>Ertuğrul</a:t>
            </a:r>
            <a:r>
              <a:rPr kumimoji="0" lang="en-US" sz="2000" b="1" i="0" u="none" strike="noStrike" cap="none" spc="0" normalizeH="0" baseline="0" dirty="0">
                <a:ln>
                  <a:noFill/>
                </a:ln>
                <a:solidFill>
                  <a:srgbClr val="0D41FF"/>
                </a:solidFill>
                <a:effectLst/>
                <a:uFillTx/>
                <a:latin typeface="Gilroy Bold" panose="00000800000000000000" pitchFamily="50" charset="0"/>
                <a:sym typeface="Helvetica"/>
              </a:rPr>
              <a:t> </a:t>
            </a:r>
            <a:r>
              <a:rPr kumimoji="0" lang="en-US" sz="2000" b="1" i="0" u="none" strike="noStrike" cap="none" spc="0" normalizeH="0" baseline="0" dirty="0" err="1">
                <a:ln>
                  <a:noFill/>
                </a:ln>
                <a:solidFill>
                  <a:srgbClr val="0D41FF"/>
                </a:solidFill>
                <a:effectLst/>
                <a:uFillTx/>
                <a:latin typeface="Gilroy Bold" panose="00000800000000000000" pitchFamily="50" charset="0"/>
                <a:sym typeface="Helvetica"/>
              </a:rPr>
              <a:t>Şen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0D41FF"/>
              </a:solidFill>
              <a:effectLst/>
              <a:uFillTx/>
              <a:latin typeface="Gilroy Bold" panose="00000800000000000000" pitchFamily="50" charset="0"/>
              <a:sym typeface="Helvetica"/>
            </a:endParaRPr>
          </a:p>
        </p:txBody>
      </p:sp>
      <p:pic>
        <p:nvPicPr>
          <p:cNvPr id="27" name="Picture 26" descr="A person wearing glasses and a pink shirt&#10;&#10;Description automatically generated">
            <a:extLst>
              <a:ext uri="{FF2B5EF4-FFF2-40B4-BE49-F238E27FC236}">
                <a16:creationId xmlns:a16="http://schemas.microsoft.com/office/drawing/2014/main" id="{12396D26-BE16-3CE5-A0E9-5EE25E5102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918" y="1331729"/>
            <a:ext cx="1849151" cy="184915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8CD78E3-63F5-4E30-F717-4A59295E4D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C63596-4118-FC63-DF3F-0C45783D35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385" y="1331729"/>
            <a:ext cx="8134350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3681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D33C8-7850-7A6A-CAC4-58F32AA00A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4376A2A-605C-7703-0940-06F35F6826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2252F9DA-0C36-6CE1-0A71-3B902DDCEE28}"/>
              </a:ext>
            </a:extLst>
          </p:cNvPr>
          <p:cNvSpPr/>
          <p:nvPr/>
        </p:nvSpPr>
        <p:spPr>
          <a:xfrm>
            <a:off x="4218998" y="222738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B2263E59-7AF0-9875-E022-326A39BAF283}"/>
              </a:ext>
            </a:extLst>
          </p:cNvPr>
          <p:cNvSpPr/>
          <p:nvPr/>
        </p:nvSpPr>
        <p:spPr>
          <a:xfrm>
            <a:off x="4605949" y="275060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40B762-31A9-0809-B667-F07F79325975}"/>
              </a:ext>
            </a:extLst>
          </p:cNvPr>
          <p:cNvSpPr txBox="1"/>
          <p:nvPr/>
        </p:nvSpPr>
        <p:spPr>
          <a:xfrm>
            <a:off x="4218998" y="222738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F9D5F6-7085-F5E4-43E1-915B9CEC8009}"/>
              </a:ext>
            </a:extLst>
          </p:cNvPr>
          <p:cNvSpPr txBox="1"/>
          <p:nvPr/>
        </p:nvSpPr>
        <p:spPr>
          <a:xfrm>
            <a:off x="430200" y="856462"/>
            <a:ext cx="48228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Services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61155DB2-53FE-F069-636D-5803A60A0BA5}"/>
              </a:ext>
            </a:extLst>
          </p:cNvPr>
          <p:cNvSpPr/>
          <p:nvPr/>
        </p:nvSpPr>
        <p:spPr>
          <a:xfrm>
            <a:off x="6778057" y="2227386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ACD9C237-4AE9-1132-1C2B-16100E9D6DC8}"/>
              </a:ext>
            </a:extLst>
          </p:cNvPr>
          <p:cNvSpPr/>
          <p:nvPr/>
        </p:nvSpPr>
        <p:spPr>
          <a:xfrm>
            <a:off x="7165008" y="2750607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0DD8E7-67C7-CD94-A187-F4C6D03ACE3E}"/>
              </a:ext>
            </a:extLst>
          </p:cNvPr>
          <p:cNvSpPr txBox="1"/>
          <p:nvPr/>
        </p:nvSpPr>
        <p:spPr>
          <a:xfrm>
            <a:off x="6778057" y="2227386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611C464B-09AB-D46F-BA1B-869A2773F835}"/>
              </a:ext>
            </a:extLst>
          </p:cNvPr>
          <p:cNvSpPr/>
          <p:nvPr/>
        </p:nvSpPr>
        <p:spPr>
          <a:xfrm>
            <a:off x="9296221" y="220872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1428B19F-B801-21D7-BAA6-80982B3D5715}"/>
              </a:ext>
            </a:extLst>
          </p:cNvPr>
          <p:cNvSpPr/>
          <p:nvPr/>
        </p:nvSpPr>
        <p:spPr>
          <a:xfrm>
            <a:off x="9683172" y="273194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592767-9B11-7F1A-FDDC-CB6C434AADE9}"/>
              </a:ext>
            </a:extLst>
          </p:cNvPr>
          <p:cNvSpPr txBox="1"/>
          <p:nvPr/>
        </p:nvSpPr>
        <p:spPr>
          <a:xfrm>
            <a:off x="9296221" y="220872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0D8B70A-2386-E28C-87FB-178E97B95824}"/>
              </a:ext>
            </a:extLst>
          </p:cNvPr>
          <p:cNvSpPr/>
          <p:nvPr/>
        </p:nvSpPr>
        <p:spPr>
          <a:xfrm>
            <a:off x="4218998" y="4190125"/>
            <a:ext cx="7492086" cy="481432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57BB9B93-389F-2888-1D52-13EB3AEB3575}"/>
              </a:ext>
            </a:extLst>
          </p:cNvPr>
          <p:cNvSpPr/>
          <p:nvPr/>
        </p:nvSpPr>
        <p:spPr>
          <a:xfrm>
            <a:off x="221429" y="2284948"/>
            <a:ext cx="3739717" cy="15858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57E28DC-F437-CDED-5EE6-0B35DE127219}"/>
              </a:ext>
            </a:extLst>
          </p:cNvPr>
          <p:cNvSpPr/>
          <p:nvPr/>
        </p:nvSpPr>
        <p:spPr>
          <a:xfrm>
            <a:off x="608379" y="2808169"/>
            <a:ext cx="2741159" cy="6431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eplicaS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FA6FB6-F281-784C-0D31-E6B65B612E86}"/>
              </a:ext>
            </a:extLst>
          </p:cNvPr>
          <p:cNvSpPr txBox="1"/>
          <p:nvPr/>
        </p:nvSpPr>
        <p:spPr>
          <a:xfrm>
            <a:off x="221429" y="2284948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2270D9-4ECD-8779-8D7E-B3EAC8BC6D32}"/>
              </a:ext>
            </a:extLst>
          </p:cNvPr>
          <p:cNvSpPr/>
          <p:nvPr/>
        </p:nvSpPr>
        <p:spPr>
          <a:xfrm flipH="1">
            <a:off x="3784098" y="4048977"/>
            <a:ext cx="8149993" cy="830997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968040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EC739-48A6-CA21-5FBD-AE6A97EA2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6C86C63-F98E-AB82-3ACD-4AB1B1D812CA}"/>
              </a:ext>
            </a:extLst>
          </p:cNvPr>
          <p:cNvSpPr txBox="1"/>
          <p:nvPr/>
        </p:nvSpPr>
        <p:spPr>
          <a:xfrm>
            <a:off x="390209" y="3670989"/>
            <a:ext cx="7699224" cy="17788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A Service provide a single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Point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of entry for accessing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one or m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ore pods</a:t>
            </a:r>
          </a:p>
        </p:txBody>
      </p:sp>
    </p:spTree>
    <p:extLst>
      <p:ext uri="{BB962C8B-B14F-4D97-AF65-F5344CB8AC3E}">
        <p14:creationId xmlns:p14="http://schemas.microsoft.com/office/powerpoint/2010/main" val="2925285328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C821AD-7B0A-E0DA-3C09-F38DC974F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10180E-3D3E-283D-187E-0D1B1B68CF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4F6D408-5DD2-38E4-6DD0-F450A1D87012}"/>
              </a:ext>
            </a:extLst>
          </p:cNvPr>
          <p:cNvSpPr txBox="1"/>
          <p:nvPr/>
        </p:nvSpPr>
        <p:spPr>
          <a:xfrm>
            <a:off x="827720" y="738554"/>
            <a:ext cx="8581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latin typeface="Gilroy LİGHT" panose="00000400000000000000"/>
              </a:rPr>
              <a:t>Quesiton</a:t>
            </a:r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08A982-5961-FD1F-0D5D-F55BED661834}"/>
              </a:ext>
            </a:extLst>
          </p:cNvPr>
          <p:cNvSpPr txBox="1"/>
          <p:nvPr/>
        </p:nvSpPr>
        <p:spPr>
          <a:xfrm>
            <a:off x="1184030" y="1244020"/>
            <a:ext cx="858129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ods live and die can you rely on their IP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5" name="Rounded Rectangle 17">
            <a:extLst>
              <a:ext uri="{FF2B5EF4-FFF2-40B4-BE49-F238E27FC236}">
                <a16:creationId xmlns:a16="http://schemas.microsoft.com/office/drawing/2014/main" id="{172C0FEA-A283-4BF8-7C4B-FCA0B4569DF3}"/>
              </a:ext>
            </a:extLst>
          </p:cNvPr>
          <p:cNvSpPr/>
          <p:nvPr/>
        </p:nvSpPr>
        <p:spPr>
          <a:xfrm>
            <a:off x="2426497" y="232595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97EA1934-6AEA-57E1-029A-EB084A02B561}"/>
              </a:ext>
            </a:extLst>
          </p:cNvPr>
          <p:cNvSpPr/>
          <p:nvPr/>
        </p:nvSpPr>
        <p:spPr>
          <a:xfrm>
            <a:off x="2813447" y="284918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7CD1AB-016E-8D68-C562-2278DB5DEF7B}"/>
              </a:ext>
            </a:extLst>
          </p:cNvPr>
          <p:cNvSpPr txBox="1"/>
          <p:nvPr/>
        </p:nvSpPr>
        <p:spPr>
          <a:xfrm>
            <a:off x="2426497" y="232595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FE pod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04DC240-D00F-0254-C9DC-AF4F7F4D331D}"/>
              </a:ext>
            </a:extLst>
          </p:cNvPr>
          <p:cNvSpPr/>
          <p:nvPr/>
        </p:nvSpPr>
        <p:spPr>
          <a:xfrm>
            <a:off x="7010220" y="232595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3E608551-E24B-040E-5920-B3EB8DB55582}"/>
              </a:ext>
            </a:extLst>
          </p:cNvPr>
          <p:cNvSpPr/>
          <p:nvPr/>
        </p:nvSpPr>
        <p:spPr>
          <a:xfrm>
            <a:off x="7397170" y="284918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8EC3B0-656F-00B1-2210-B60C3D21A10E}"/>
              </a:ext>
            </a:extLst>
          </p:cNvPr>
          <p:cNvSpPr txBox="1"/>
          <p:nvPr/>
        </p:nvSpPr>
        <p:spPr>
          <a:xfrm>
            <a:off x="7010220" y="232595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BE pod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C85317-79CE-50F4-236C-3C781AC5A408}"/>
              </a:ext>
            </a:extLst>
          </p:cNvPr>
          <p:cNvCxnSpPr>
            <a:stCxn id="15" idx="3"/>
            <a:endCxn id="18" idx="1"/>
          </p:cNvCxnSpPr>
          <p:nvPr/>
        </p:nvCxnSpPr>
        <p:spPr>
          <a:xfrm>
            <a:off x="5181599" y="3147648"/>
            <a:ext cx="18286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F4380C2-764E-BBB7-A4A0-B95F055CD45F}"/>
              </a:ext>
            </a:extLst>
          </p:cNvPr>
          <p:cNvSpPr txBox="1"/>
          <p:nvPr/>
        </p:nvSpPr>
        <p:spPr>
          <a:xfrm>
            <a:off x="3004446" y="4160082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58BEC0-2028-1337-B648-17E91783AC9D}"/>
              </a:ext>
            </a:extLst>
          </p:cNvPr>
          <p:cNvSpPr txBox="1"/>
          <p:nvPr/>
        </p:nvSpPr>
        <p:spPr>
          <a:xfrm>
            <a:off x="7866184" y="4160082"/>
            <a:ext cx="1781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5</a:t>
            </a:r>
          </a:p>
        </p:txBody>
      </p:sp>
    </p:spTree>
    <p:extLst>
      <p:ext uri="{BB962C8B-B14F-4D97-AF65-F5344CB8AC3E}">
        <p14:creationId xmlns:p14="http://schemas.microsoft.com/office/powerpoint/2010/main" val="2010906242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251E1-FCB1-E956-404F-20B2E5FBF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825B1E0-4A4C-576C-5C7A-F157300F4F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031FDD-1CCB-815F-0662-AC9785AFEA86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Servi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FA8FDD-3976-F93A-20B7-C6E8FA8133C4}"/>
              </a:ext>
            </a:extLst>
          </p:cNvPr>
          <p:cNvSpPr txBox="1"/>
          <p:nvPr/>
        </p:nvSpPr>
        <p:spPr>
          <a:xfrm>
            <a:off x="1078523" y="1271228"/>
            <a:ext cx="858129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ds are mor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not rely on a Pod Ip address staying the s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ds can be horizontally scaled so each pods gets its own IP add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Pod get an IP address after it has been scheduled 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0E7154FF-80ED-36D8-1476-29A011F59DC0}"/>
              </a:ext>
            </a:extLst>
          </p:cNvPr>
          <p:cNvSpPr/>
          <p:nvPr/>
        </p:nvSpPr>
        <p:spPr>
          <a:xfrm>
            <a:off x="8639729" y="3515621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6985E628-F5A0-E60F-BC4C-D46894F5FDC5}"/>
              </a:ext>
            </a:extLst>
          </p:cNvPr>
          <p:cNvSpPr/>
          <p:nvPr/>
        </p:nvSpPr>
        <p:spPr>
          <a:xfrm>
            <a:off x="9026679" y="4038842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EF6700-E223-1381-DC4B-A13F79B6EF78}"/>
              </a:ext>
            </a:extLst>
          </p:cNvPr>
          <p:cNvSpPr txBox="1"/>
          <p:nvPr/>
        </p:nvSpPr>
        <p:spPr>
          <a:xfrm>
            <a:off x="8639729" y="3515621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C6608F-EA4B-0D36-B047-59F7505BF115}"/>
              </a:ext>
            </a:extLst>
          </p:cNvPr>
          <p:cNvSpPr txBox="1"/>
          <p:nvPr/>
        </p:nvSpPr>
        <p:spPr>
          <a:xfrm>
            <a:off x="9460524" y="5303746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0</a:t>
            </a:r>
          </a:p>
        </p:txBody>
      </p:sp>
    </p:spTree>
    <p:extLst>
      <p:ext uri="{BB962C8B-B14F-4D97-AF65-F5344CB8AC3E}">
        <p14:creationId xmlns:p14="http://schemas.microsoft.com/office/powerpoint/2010/main" val="2188788993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0FE8C-686B-BEA5-3331-C2D0D8192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E6DC097-2824-256C-1C88-CB82E71C55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A735FA-C8CD-CA08-7553-B1E49A660A94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The Role of Ser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721A42-5C2C-A982-EF05-4ECBD65DD0B1}"/>
              </a:ext>
            </a:extLst>
          </p:cNvPr>
          <p:cNvSpPr txBox="1"/>
          <p:nvPr/>
        </p:nvSpPr>
        <p:spPr>
          <a:xfrm>
            <a:off x="6902977" y="3479849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0B473E31-47C1-8F41-ED4E-E2AE552D8C25}"/>
              </a:ext>
            </a:extLst>
          </p:cNvPr>
          <p:cNvSpPr/>
          <p:nvPr/>
        </p:nvSpPr>
        <p:spPr>
          <a:xfrm>
            <a:off x="2895454" y="168053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7B81ED6B-F8C7-81B1-B91F-CF157AA7EFA0}"/>
              </a:ext>
            </a:extLst>
          </p:cNvPr>
          <p:cNvSpPr/>
          <p:nvPr/>
        </p:nvSpPr>
        <p:spPr>
          <a:xfrm>
            <a:off x="3282404" y="220376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3D9C85-4FAC-EB75-8E59-D0109CEC10AC}"/>
              </a:ext>
            </a:extLst>
          </p:cNvPr>
          <p:cNvSpPr txBox="1"/>
          <p:nvPr/>
        </p:nvSpPr>
        <p:spPr>
          <a:xfrm>
            <a:off x="2895454" y="168053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C45567-AC5B-EF4B-25E4-8D5EBA2FE335}"/>
              </a:ext>
            </a:extLst>
          </p:cNvPr>
          <p:cNvSpPr txBox="1"/>
          <p:nvPr/>
        </p:nvSpPr>
        <p:spPr>
          <a:xfrm>
            <a:off x="3716249" y="3468664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0:80</a:t>
            </a:r>
          </a:p>
        </p:txBody>
      </p:sp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130B0B76-480E-410C-0E26-344936310456}"/>
              </a:ext>
            </a:extLst>
          </p:cNvPr>
          <p:cNvSpPr/>
          <p:nvPr/>
        </p:nvSpPr>
        <p:spPr>
          <a:xfrm>
            <a:off x="2895454" y="400306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20" name="Rounded Rectangle 17">
            <a:extLst>
              <a:ext uri="{FF2B5EF4-FFF2-40B4-BE49-F238E27FC236}">
                <a16:creationId xmlns:a16="http://schemas.microsoft.com/office/drawing/2014/main" id="{8C27167C-E87C-C66A-E2CD-E9958EE5834F}"/>
              </a:ext>
            </a:extLst>
          </p:cNvPr>
          <p:cNvSpPr/>
          <p:nvPr/>
        </p:nvSpPr>
        <p:spPr>
          <a:xfrm>
            <a:off x="3282404" y="452629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43A7A18-BC88-1230-6B4D-0157DFFA7EF2}"/>
              </a:ext>
            </a:extLst>
          </p:cNvPr>
          <p:cNvSpPr txBox="1"/>
          <p:nvPr/>
        </p:nvSpPr>
        <p:spPr>
          <a:xfrm>
            <a:off x="2895454" y="400306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1CC89C-BE38-381C-592D-95118507705C}"/>
              </a:ext>
            </a:extLst>
          </p:cNvPr>
          <p:cNvSpPr txBox="1"/>
          <p:nvPr/>
        </p:nvSpPr>
        <p:spPr>
          <a:xfrm>
            <a:off x="3716249" y="5791194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5:8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0BB2659-9BFA-49EA-5263-E9BF5EF69B34}"/>
              </a:ext>
            </a:extLst>
          </p:cNvPr>
          <p:cNvSpPr/>
          <p:nvPr/>
        </p:nvSpPr>
        <p:spPr>
          <a:xfrm flipH="1">
            <a:off x="2391508" y="1540895"/>
            <a:ext cx="3704492" cy="4619632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ounded Rectangle 17">
            <a:extLst>
              <a:ext uri="{FF2B5EF4-FFF2-40B4-BE49-F238E27FC236}">
                <a16:creationId xmlns:a16="http://schemas.microsoft.com/office/drawing/2014/main" id="{EF29E70E-F80E-E887-3C4D-A73AACBF5B8E}"/>
              </a:ext>
            </a:extLst>
          </p:cNvPr>
          <p:cNvSpPr/>
          <p:nvPr/>
        </p:nvSpPr>
        <p:spPr>
          <a:xfrm>
            <a:off x="153039" y="3389046"/>
            <a:ext cx="1841833" cy="461665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023B50F-7635-889C-AEDB-5B19216464B2}"/>
              </a:ext>
            </a:extLst>
          </p:cNvPr>
          <p:cNvCxnSpPr>
            <a:cxnSpLocks/>
            <a:stCxn id="24" idx="3"/>
            <a:endCxn id="3" idx="1"/>
          </p:cNvCxnSpPr>
          <p:nvPr/>
        </p:nvCxnSpPr>
        <p:spPr>
          <a:xfrm flipV="1">
            <a:off x="1994872" y="2502228"/>
            <a:ext cx="900582" cy="1117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1D72B8E-4BB2-4D0F-C465-4F3874E5D33A}"/>
              </a:ext>
            </a:extLst>
          </p:cNvPr>
          <p:cNvCxnSpPr>
            <a:cxnSpLocks/>
            <a:stCxn id="24" idx="3"/>
            <a:endCxn id="19" idx="1"/>
          </p:cNvCxnSpPr>
          <p:nvPr/>
        </p:nvCxnSpPr>
        <p:spPr>
          <a:xfrm>
            <a:off x="1994872" y="3619879"/>
            <a:ext cx="900582" cy="12048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CA9A731-C035-11A9-F173-E2E4F423B5B9}"/>
              </a:ext>
            </a:extLst>
          </p:cNvPr>
          <p:cNvSpPr txBox="1"/>
          <p:nvPr/>
        </p:nvSpPr>
        <p:spPr>
          <a:xfrm>
            <a:off x="326065" y="3864606"/>
            <a:ext cx="16178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0:8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CC4390-A636-CFC7-ECB9-1647F1C48650}"/>
              </a:ext>
            </a:extLst>
          </p:cNvPr>
          <p:cNvSpPr txBox="1"/>
          <p:nvPr/>
        </p:nvSpPr>
        <p:spPr>
          <a:xfrm>
            <a:off x="6247762" y="1004429"/>
            <a:ext cx="538153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abstract Pod IP address from consu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ad balances between p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are not ephemer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s </a:t>
            </a:r>
            <a:r>
              <a:rPr lang="en-US" dirty="0" err="1"/>
              <a:t>enpoints</a:t>
            </a:r>
            <a:r>
              <a:rPr lang="en-US" dirty="0"/>
              <a:t> which sit between a service and pods</a:t>
            </a:r>
          </a:p>
        </p:txBody>
      </p:sp>
    </p:spTree>
    <p:extLst>
      <p:ext uri="{BB962C8B-B14F-4D97-AF65-F5344CB8AC3E}">
        <p14:creationId xmlns:p14="http://schemas.microsoft.com/office/powerpoint/2010/main" val="134698560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C03E2-9545-6B20-1AE8-636FB1792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2D4B961-051D-60E5-3784-A183A4DF1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3D39E0-55FA-FCF5-3291-F1C4B1474B08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Service Call Examp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CAA60B-9A74-4F26-4F32-3E9AE14B8573}"/>
              </a:ext>
            </a:extLst>
          </p:cNvPr>
          <p:cNvSpPr txBox="1"/>
          <p:nvPr/>
        </p:nvSpPr>
        <p:spPr>
          <a:xfrm>
            <a:off x="6902977" y="3479849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8EDD626D-C970-4C72-DF70-E5964973C7FB}"/>
              </a:ext>
            </a:extLst>
          </p:cNvPr>
          <p:cNvSpPr/>
          <p:nvPr/>
        </p:nvSpPr>
        <p:spPr>
          <a:xfrm>
            <a:off x="2895454" y="168053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1F2780D4-5662-606A-8D2C-52ABD0F92163}"/>
              </a:ext>
            </a:extLst>
          </p:cNvPr>
          <p:cNvSpPr/>
          <p:nvPr/>
        </p:nvSpPr>
        <p:spPr>
          <a:xfrm>
            <a:off x="3282404" y="220376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BC5BF7-C007-120B-DC8F-56D7027DEFA8}"/>
              </a:ext>
            </a:extLst>
          </p:cNvPr>
          <p:cNvSpPr txBox="1"/>
          <p:nvPr/>
        </p:nvSpPr>
        <p:spPr>
          <a:xfrm>
            <a:off x="2895454" y="168053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75FB79-C697-C6CC-4D16-8C5E4EAB0C20}"/>
              </a:ext>
            </a:extLst>
          </p:cNvPr>
          <p:cNvSpPr txBox="1"/>
          <p:nvPr/>
        </p:nvSpPr>
        <p:spPr>
          <a:xfrm>
            <a:off x="3716249" y="3468664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0:8080</a:t>
            </a:r>
          </a:p>
        </p:txBody>
      </p:sp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07226D4E-8A6A-D0B0-45ED-27E4CFCBFEA6}"/>
              </a:ext>
            </a:extLst>
          </p:cNvPr>
          <p:cNvSpPr/>
          <p:nvPr/>
        </p:nvSpPr>
        <p:spPr>
          <a:xfrm>
            <a:off x="2895454" y="4003069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20" name="Rounded Rectangle 17">
            <a:extLst>
              <a:ext uri="{FF2B5EF4-FFF2-40B4-BE49-F238E27FC236}">
                <a16:creationId xmlns:a16="http://schemas.microsoft.com/office/drawing/2014/main" id="{8F57B7DB-BC50-5F0F-588C-DA476B409E1E}"/>
              </a:ext>
            </a:extLst>
          </p:cNvPr>
          <p:cNvSpPr/>
          <p:nvPr/>
        </p:nvSpPr>
        <p:spPr>
          <a:xfrm>
            <a:off x="3282404" y="4526290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57BAE4-919A-7615-6BBE-69AFF65460D1}"/>
              </a:ext>
            </a:extLst>
          </p:cNvPr>
          <p:cNvSpPr txBox="1"/>
          <p:nvPr/>
        </p:nvSpPr>
        <p:spPr>
          <a:xfrm>
            <a:off x="2895454" y="400306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B5007F1-8727-6461-C4A8-5870B4B86514}"/>
              </a:ext>
            </a:extLst>
          </p:cNvPr>
          <p:cNvSpPr txBox="1"/>
          <p:nvPr/>
        </p:nvSpPr>
        <p:spPr>
          <a:xfrm>
            <a:off x="3716249" y="5791194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55:808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5ADC3CA-7619-B4E3-8B62-1759718B5592}"/>
              </a:ext>
            </a:extLst>
          </p:cNvPr>
          <p:cNvSpPr/>
          <p:nvPr/>
        </p:nvSpPr>
        <p:spPr>
          <a:xfrm flipH="1">
            <a:off x="2391508" y="1540895"/>
            <a:ext cx="3704492" cy="4619632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ounded Rectangle 17">
            <a:extLst>
              <a:ext uri="{FF2B5EF4-FFF2-40B4-BE49-F238E27FC236}">
                <a16:creationId xmlns:a16="http://schemas.microsoft.com/office/drawing/2014/main" id="{B5E7A122-BCA2-CEA0-D719-A742C207BBC5}"/>
              </a:ext>
            </a:extLst>
          </p:cNvPr>
          <p:cNvSpPr/>
          <p:nvPr/>
        </p:nvSpPr>
        <p:spPr>
          <a:xfrm>
            <a:off x="153039" y="3389046"/>
            <a:ext cx="1841833" cy="461665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748C422-6C24-365F-03E5-C82E65A44F43}"/>
              </a:ext>
            </a:extLst>
          </p:cNvPr>
          <p:cNvCxnSpPr>
            <a:cxnSpLocks/>
            <a:stCxn id="24" idx="3"/>
            <a:endCxn id="3" idx="1"/>
          </p:cNvCxnSpPr>
          <p:nvPr/>
        </p:nvCxnSpPr>
        <p:spPr>
          <a:xfrm flipV="1">
            <a:off x="1994872" y="2502228"/>
            <a:ext cx="900582" cy="1117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5C95D3F-CA41-53A6-8824-3BDDF0FBB970}"/>
              </a:ext>
            </a:extLst>
          </p:cNvPr>
          <p:cNvCxnSpPr>
            <a:cxnSpLocks/>
            <a:stCxn id="24" idx="3"/>
            <a:endCxn id="19" idx="1"/>
          </p:cNvCxnSpPr>
          <p:nvPr/>
        </p:nvCxnSpPr>
        <p:spPr>
          <a:xfrm>
            <a:off x="1994872" y="3619879"/>
            <a:ext cx="900582" cy="12048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7D9829A-439E-6E76-6094-04146A52C535}"/>
              </a:ext>
            </a:extLst>
          </p:cNvPr>
          <p:cNvSpPr txBox="1"/>
          <p:nvPr/>
        </p:nvSpPr>
        <p:spPr>
          <a:xfrm>
            <a:off x="326065" y="3864606"/>
            <a:ext cx="16178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0:80</a:t>
            </a:r>
          </a:p>
        </p:txBody>
      </p:sp>
      <p:sp>
        <p:nvSpPr>
          <p:cNvPr id="2" name="Rounded Rectangle 17">
            <a:extLst>
              <a:ext uri="{FF2B5EF4-FFF2-40B4-BE49-F238E27FC236}">
                <a16:creationId xmlns:a16="http://schemas.microsoft.com/office/drawing/2014/main" id="{DDF1E810-31DC-1C32-FED8-6A918435B7E3}"/>
              </a:ext>
            </a:extLst>
          </p:cNvPr>
          <p:cNvSpPr/>
          <p:nvPr/>
        </p:nvSpPr>
        <p:spPr>
          <a:xfrm>
            <a:off x="8744810" y="2812085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581B2DEF-AA79-880B-884F-960D792B6EA7}"/>
              </a:ext>
            </a:extLst>
          </p:cNvPr>
          <p:cNvSpPr/>
          <p:nvPr/>
        </p:nvSpPr>
        <p:spPr>
          <a:xfrm>
            <a:off x="9131760" y="3335306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E534C2-DB4C-C77A-F116-1D8B2A540F23}"/>
              </a:ext>
            </a:extLst>
          </p:cNvPr>
          <p:cNvSpPr txBox="1"/>
          <p:nvPr/>
        </p:nvSpPr>
        <p:spPr>
          <a:xfrm>
            <a:off x="8744810" y="2812085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FC5A30-8D26-A4FC-61A7-28DB7A4106B8}"/>
              </a:ext>
            </a:extLst>
          </p:cNvPr>
          <p:cNvSpPr txBox="1"/>
          <p:nvPr/>
        </p:nvSpPr>
        <p:spPr>
          <a:xfrm>
            <a:off x="9440531" y="4600210"/>
            <a:ext cx="1934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10:270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F619B24-D36A-4A5D-438D-B606EB7B4EBA}"/>
              </a:ext>
            </a:extLst>
          </p:cNvPr>
          <p:cNvSpPr/>
          <p:nvPr/>
        </p:nvSpPr>
        <p:spPr>
          <a:xfrm flipH="1">
            <a:off x="6330462" y="1540894"/>
            <a:ext cx="5293025" cy="4619632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FFE26EA4-126E-88EA-E3ED-D40394A5115C}"/>
              </a:ext>
            </a:extLst>
          </p:cNvPr>
          <p:cNvSpPr/>
          <p:nvPr/>
        </p:nvSpPr>
        <p:spPr>
          <a:xfrm>
            <a:off x="6492636" y="3402941"/>
            <a:ext cx="1841833" cy="461665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4953349-5A54-AE16-7B95-0776B78DD127}"/>
              </a:ext>
            </a:extLst>
          </p:cNvPr>
          <p:cNvCxnSpPr>
            <a:cxnSpLocks/>
            <a:stCxn id="3" idx="3"/>
            <a:endCxn id="18" idx="1"/>
          </p:cNvCxnSpPr>
          <p:nvPr/>
        </p:nvCxnSpPr>
        <p:spPr>
          <a:xfrm>
            <a:off x="5650556" y="2502228"/>
            <a:ext cx="842080" cy="11315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2D74740-D019-C8E3-F948-29E475958A2D}"/>
              </a:ext>
            </a:extLst>
          </p:cNvPr>
          <p:cNvCxnSpPr>
            <a:cxnSpLocks/>
            <a:stCxn id="19" idx="3"/>
            <a:endCxn id="18" idx="1"/>
          </p:cNvCxnSpPr>
          <p:nvPr/>
        </p:nvCxnSpPr>
        <p:spPr>
          <a:xfrm flipV="1">
            <a:off x="5650556" y="3633774"/>
            <a:ext cx="842080" cy="1190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B12A036B-A0D5-46AA-9241-C5649A446109}"/>
              </a:ext>
            </a:extLst>
          </p:cNvPr>
          <p:cNvCxnSpPr>
            <a:cxnSpLocks/>
            <a:stCxn id="18" idx="3"/>
            <a:endCxn id="2" idx="1"/>
          </p:cNvCxnSpPr>
          <p:nvPr/>
        </p:nvCxnSpPr>
        <p:spPr>
          <a:xfrm>
            <a:off x="8334469" y="3633774"/>
            <a:ext cx="4103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17">
            <a:extLst>
              <a:ext uri="{FF2B5EF4-FFF2-40B4-BE49-F238E27FC236}">
                <a16:creationId xmlns:a16="http://schemas.microsoft.com/office/drawing/2014/main" id="{EE2F895B-ED2A-5B83-C215-307A3D910EC1}"/>
              </a:ext>
            </a:extLst>
          </p:cNvPr>
          <p:cNvSpPr/>
          <p:nvPr/>
        </p:nvSpPr>
        <p:spPr>
          <a:xfrm>
            <a:off x="439386" y="3016649"/>
            <a:ext cx="1291660" cy="30530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Gilroy" panose="00000500000000000000"/>
              </a:rPr>
              <a:t>Fronte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2" name="Rounded Rectangle 17">
            <a:extLst>
              <a:ext uri="{FF2B5EF4-FFF2-40B4-BE49-F238E27FC236}">
                <a16:creationId xmlns:a16="http://schemas.microsoft.com/office/drawing/2014/main" id="{2CFCC9E6-2BE8-B8E1-A35E-93F3B87650F3}"/>
              </a:ext>
            </a:extLst>
          </p:cNvPr>
          <p:cNvSpPr/>
          <p:nvPr/>
        </p:nvSpPr>
        <p:spPr>
          <a:xfrm>
            <a:off x="3655221" y="1341890"/>
            <a:ext cx="1291660" cy="30530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Gilroy" panose="00000500000000000000"/>
              </a:rPr>
              <a:t>Fronte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3" name="Rounded Rectangle 17">
            <a:extLst>
              <a:ext uri="{FF2B5EF4-FFF2-40B4-BE49-F238E27FC236}">
                <a16:creationId xmlns:a16="http://schemas.microsoft.com/office/drawing/2014/main" id="{F6059FEB-15A5-59E5-05E2-2721E13290D1}"/>
              </a:ext>
            </a:extLst>
          </p:cNvPr>
          <p:cNvSpPr/>
          <p:nvPr/>
        </p:nvSpPr>
        <p:spPr>
          <a:xfrm>
            <a:off x="3652843" y="3859555"/>
            <a:ext cx="1291660" cy="30530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Gilroy" panose="00000500000000000000"/>
              </a:rPr>
              <a:t>Fronte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4" name="Rounded Rectangle 17">
            <a:extLst>
              <a:ext uri="{FF2B5EF4-FFF2-40B4-BE49-F238E27FC236}">
                <a16:creationId xmlns:a16="http://schemas.microsoft.com/office/drawing/2014/main" id="{A1C92C38-2C61-B844-3C74-39888785A253}"/>
              </a:ext>
            </a:extLst>
          </p:cNvPr>
          <p:cNvSpPr/>
          <p:nvPr/>
        </p:nvSpPr>
        <p:spPr>
          <a:xfrm>
            <a:off x="6809657" y="3061053"/>
            <a:ext cx="1291660" cy="30530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Gilroy" panose="00000500000000000000"/>
              </a:rPr>
              <a:t>Backe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5" name="Rounded Rectangle 17">
            <a:extLst>
              <a:ext uri="{FF2B5EF4-FFF2-40B4-BE49-F238E27FC236}">
                <a16:creationId xmlns:a16="http://schemas.microsoft.com/office/drawing/2014/main" id="{7B66196F-D7F1-5547-2166-FE1E2F9A1752}"/>
              </a:ext>
            </a:extLst>
          </p:cNvPr>
          <p:cNvSpPr/>
          <p:nvPr/>
        </p:nvSpPr>
        <p:spPr>
          <a:xfrm>
            <a:off x="9565605" y="2587058"/>
            <a:ext cx="1291660" cy="30530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Gilroy" panose="00000500000000000000"/>
              </a:rPr>
              <a:t>Backe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356BB0-EDBC-A050-ECE0-6EBFC2032CB6}"/>
              </a:ext>
            </a:extLst>
          </p:cNvPr>
          <p:cNvSpPr txBox="1"/>
          <p:nvPr/>
        </p:nvSpPr>
        <p:spPr>
          <a:xfrm>
            <a:off x="6673173" y="3927820"/>
            <a:ext cx="21779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10.0.0.1:9000</a:t>
            </a:r>
          </a:p>
        </p:txBody>
      </p:sp>
    </p:spTree>
    <p:extLst>
      <p:ext uri="{BB962C8B-B14F-4D97-AF65-F5344CB8AC3E}">
        <p14:creationId xmlns:p14="http://schemas.microsoft.com/office/powerpoint/2010/main" val="2259036254"/>
      </p:ext>
    </p:extLst>
  </p:cSld>
  <p:clrMapOvr>
    <a:masterClrMapping/>
  </p:clrMapOvr>
  <p:transition spd="med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B0FC69-1FAC-E5F0-388C-90943D61E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FAA59F0-5CBB-C8C9-1698-7A85E2C73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BFA299-D12E-8F08-077D-EF9F0D687B14}"/>
              </a:ext>
            </a:extLst>
          </p:cNvPr>
          <p:cNvSpPr txBox="1"/>
          <p:nvPr/>
        </p:nvSpPr>
        <p:spPr>
          <a:xfrm>
            <a:off x="827721" y="738554"/>
            <a:ext cx="4541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Service Type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8E1BD0-100B-1883-22B4-3364B5B49986}"/>
              </a:ext>
            </a:extLst>
          </p:cNvPr>
          <p:cNvSpPr txBox="1"/>
          <p:nvPr/>
        </p:nvSpPr>
        <p:spPr>
          <a:xfrm>
            <a:off x="644712" y="1492552"/>
            <a:ext cx="85812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ClusterIP</a:t>
            </a:r>
            <a:r>
              <a:rPr lang="en-US" b="1" dirty="0">
                <a:latin typeface="Gilroy LİGHT" panose="00000400000000000000"/>
              </a:rPr>
              <a:t>  -&gt; Expose the service on a cluster internal 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NodePort</a:t>
            </a:r>
            <a:r>
              <a:rPr lang="en-US" b="1" dirty="0">
                <a:latin typeface="Gilroy LİGHT" panose="00000400000000000000"/>
              </a:rPr>
              <a:t> -&gt; Expose the service on each Node’s IP at static 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Load Balancer -&gt; Provision an external IP to act as a load balancer for the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547D52-C7D7-3F44-6E25-8FDDA1A418BB}"/>
              </a:ext>
            </a:extLst>
          </p:cNvPr>
          <p:cNvSpPr txBox="1"/>
          <p:nvPr/>
        </p:nvSpPr>
        <p:spPr>
          <a:xfrm>
            <a:off x="8850865" y="2279171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4B97976-8902-C2A2-BBAC-50D6748643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0150" y="3429000"/>
            <a:ext cx="979170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234918"/>
      </p:ext>
    </p:extLst>
  </p:cSld>
  <p:clrMapOvr>
    <a:masterClrMapping/>
  </p:clrMapOvr>
  <p:transition spd="med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F5AB4E-20AC-041A-7589-68188FD6C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A1E9839-D523-77E8-BA31-8DAFFABEBD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F3BE62D-CEB0-5B00-D5B4-ED1FD1AD2AE9}"/>
              </a:ext>
            </a:extLst>
          </p:cNvPr>
          <p:cNvSpPr txBox="1"/>
          <p:nvPr/>
        </p:nvSpPr>
        <p:spPr>
          <a:xfrm>
            <a:off x="821772" y="596853"/>
            <a:ext cx="4541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Service YAM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C2F6C7-0E0C-93F4-5DA9-AB7F07E7DA66}"/>
              </a:ext>
            </a:extLst>
          </p:cNvPr>
          <p:cNvSpPr txBox="1"/>
          <p:nvPr/>
        </p:nvSpPr>
        <p:spPr>
          <a:xfrm>
            <a:off x="8839054" y="2221229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9683FEB0-4846-1643-3C75-3C5827902565}"/>
              </a:ext>
            </a:extLst>
          </p:cNvPr>
          <p:cNvSpPr/>
          <p:nvPr/>
        </p:nvSpPr>
        <p:spPr>
          <a:xfrm>
            <a:off x="5806610" y="4545551"/>
            <a:ext cx="3858198" cy="2138756"/>
          </a:xfrm>
          <a:prstGeom prst="roundRect">
            <a:avLst/>
          </a:prstGeom>
          <a:solidFill>
            <a:srgbClr val="F9432A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1DD32E3F-756E-9294-206B-A016F6CC9774}"/>
              </a:ext>
            </a:extLst>
          </p:cNvPr>
          <p:cNvSpPr/>
          <p:nvPr/>
        </p:nvSpPr>
        <p:spPr>
          <a:xfrm>
            <a:off x="6113767" y="5185136"/>
            <a:ext cx="3243653" cy="1086963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4D7EF1-171C-537C-FE0C-F480E1126A43}"/>
              </a:ext>
            </a:extLst>
          </p:cNvPr>
          <p:cNvSpPr txBox="1"/>
          <p:nvPr/>
        </p:nvSpPr>
        <p:spPr>
          <a:xfrm>
            <a:off x="7107984" y="4647664"/>
            <a:ext cx="12552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Servi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6A4F1B-86FB-31F7-AD71-48119C758312}"/>
              </a:ext>
            </a:extLst>
          </p:cNvPr>
          <p:cNvSpPr txBox="1"/>
          <p:nvPr/>
        </p:nvSpPr>
        <p:spPr>
          <a:xfrm>
            <a:off x="7448443" y="5230515"/>
            <a:ext cx="751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CC09B2D4-AB83-D4AE-FCC5-F6BAC8EB3886}"/>
              </a:ext>
            </a:extLst>
          </p:cNvPr>
          <p:cNvSpPr/>
          <p:nvPr/>
        </p:nvSpPr>
        <p:spPr>
          <a:xfrm>
            <a:off x="6889793" y="5698716"/>
            <a:ext cx="1954344" cy="365131"/>
          </a:xfrm>
          <a:prstGeom prst="roundRect">
            <a:avLst/>
          </a:prstGeom>
          <a:solidFill>
            <a:srgbClr val="00197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pic>
        <p:nvPicPr>
          <p:cNvPr id="11" name="Picture 4" descr="YAML File icon PNG and SVG Vector Free Download">
            <a:extLst>
              <a:ext uri="{FF2B5EF4-FFF2-40B4-BE49-F238E27FC236}">
                <a16:creationId xmlns:a16="http://schemas.microsoft.com/office/drawing/2014/main" id="{E97E3A09-7A44-1AED-C4B3-9E46D0CD17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996" y="5145535"/>
            <a:ext cx="994185" cy="105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1BA7255-6C3C-F0D7-6F38-0E402BBAA02D}"/>
              </a:ext>
            </a:extLst>
          </p:cNvPr>
          <p:cNvCxnSpPr>
            <a:cxnSpLocks/>
          </p:cNvCxnSpPr>
          <p:nvPr/>
        </p:nvCxnSpPr>
        <p:spPr>
          <a:xfrm>
            <a:off x="2747810" y="5911759"/>
            <a:ext cx="245071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825BF6E5-331F-4137-DBA0-A8F68C153AAE}"/>
              </a:ext>
            </a:extLst>
          </p:cNvPr>
          <p:cNvSpPr/>
          <p:nvPr/>
        </p:nvSpPr>
        <p:spPr>
          <a:xfrm>
            <a:off x="3155995" y="5243313"/>
            <a:ext cx="1944505" cy="365131"/>
          </a:xfrm>
          <a:prstGeom prst="roundRect">
            <a:avLst/>
          </a:prstGeom>
          <a:solidFill>
            <a:srgbClr val="3AD42C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kubect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5E36056-02B5-CB79-AC3D-92C3E6DBAE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0034" y="1235022"/>
            <a:ext cx="96964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382784"/>
      </p:ext>
    </p:extLst>
  </p:cSld>
  <p:clrMapOvr>
    <a:masterClrMapping/>
  </p:clrMapOvr>
  <p:transition spd="med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EF8F9-BC27-84B2-5CEA-D2097AA49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6B29553-46B0-7FD6-1F25-54347D8559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444D0832-1A5E-FA08-B212-F616A4B469B1}"/>
              </a:ext>
            </a:extLst>
          </p:cNvPr>
          <p:cNvSpPr/>
          <p:nvPr/>
        </p:nvSpPr>
        <p:spPr>
          <a:xfrm>
            <a:off x="4218998" y="323659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36077A12-258D-B0F6-FDB8-6AA1BF7E3A6F}"/>
              </a:ext>
            </a:extLst>
          </p:cNvPr>
          <p:cNvSpPr/>
          <p:nvPr/>
        </p:nvSpPr>
        <p:spPr>
          <a:xfrm>
            <a:off x="4605949" y="375981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74F55-0221-3729-DA01-227B1B207022}"/>
              </a:ext>
            </a:extLst>
          </p:cNvPr>
          <p:cNvSpPr txBox="1"/>
          <p:nvPr/>
        </p:nvSpPr>
        <p:spPr>
          <a:xfrm>
            <a:off x="4218998" y="323659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3BEDD1-FBC8-8302-728D-A953BD78209E}"/>
              </a:ext>
            </a:extLst>
          </p:cNvPr>
          <p:cNvSpPr txBox="1"/>
          <p:nvPr/>
        </p:nvSpPr>
        <p:spPr>
          <a:xfrm>
            <a:off x="430200" y="856462"/>
            <a:ext cx="482280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Kubernetes Storage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5EBCE1C9-D895-94E2-1362-AC0D93718BF7}"/>
              </a:ext>
            </a:extLst>
          </p:cNvPr>
          <p:cNvSpPr/>
          <p:nvPr/>
        </p:nvSpPr>
        <p:spPr>
          <a:xfrm>
            <a:off x="6778057" y="3236596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57D86CE8-185D-211A-30D0-825E3CD5291D}"/>
              </a:ext>
            </a:extLst>
          </p:cNvPr>
          <p:cNvSpPr/>
          <p:nvPr/>
        </p:nvSpPr>
        <p:spPr>
          <a:xfrm>
            <a:off x="7165008" y="3759817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81BBC2-E988-3017-6146-EC7946CD7197}"/>
              </a:ext>
            </a:extLst>
          </p:cNvPr>
          <p:cNvSpPr txBox="1"/>
          <p:nvPr/>
        </p:nvSpPr>
        <p:spPr>
          <a:xfrm>
            <a:off x="6778057" y="3236596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957AD44C-AD08-CF27-18A9-5545DA42FE9F}"/>
              </a:ext>
            </a:extLst>
          </p:cNvPr>
          <p:cNvSpPr/>
          <p:nvPr/>
        </p:nvSpPr>
        <p:spPr>
          <a:xfrm>
            <a:off x="9296221" y="321793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897A618B-7161-12EB-835F-768765E4688D}"/>
              </a:ext>
            </a:extLst>
          </p:cNvPr>
          <p:cNvSpPr/>
          <p:nvPr/>
        </p:nvSpPr>
        <p:spPr>
          <a:xfrm>
            <a:off x="9683172" y="374115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91AA00-098D-EFDF-EEA9-35231A030E13}"/>
              </a:ext>
            </a:extLst>
          </p:cNvPr>
          <p:cNvSpPr txBox="1"/>
          <p:nvPr/>
        </p:nvSpPr>
        <p:spPr>
          <a:xfrm>
            <a:off x="9296221" y="321793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463F2213-E9F4-48C6-83C0-F0D933BF4B97}"/>
              </a:ext>
            </a:extLst>
          </p:cNvPr>
          <p:cNvSpPr/>
          <p:nvPr/>
        </p:nvSpPr>
        <p:spPr>
          <a:xfrm>
            <a:off x="4218998" y="5199335"/>
            <a:ext cx="7492086" cy="481432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902F99F2-BCB3-42CC-8C14-CFFB916F3438}"/>
              </a:ext>
            </a:extLst>
          </p:cNvPr>
          <p:cNvSpPr/>
          <p:nvPr/>
        </p:nvSpPr>
        <p:spPr>
          <a:xfrm>
            <a:off x="221429" y="3294158"/>
            <a:ext cx="3739717" cy="15858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804D8C6-192A-1732-B75F-9D6CFA2BCC0D}"/>
              </a:ext>
            </a:extLst>
          </p:cNvPr>
          <p:cNvSpPr/>
          <p:nvPr/>
        </p:nvSpPr>
        <p:spPr>
          <a:xfrm>
            <a:off x="608379" y="3817379"/>
            <a:ext cx="2741159" cy="6431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eplicaS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D783F3-279B-3F75-4F50-83EC1A74E8F7}"/>
              </a:ext>
            </a:extLst>
          </p:cNvPr>
          <p:cNvSpPr txBox="1"/>
          <p:nvPr/>
        </p:nvSpPr>
        <p:spPr>
          <a:xfrm>
            <a:off x="221429" y="3294158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9EC0AEB-508B-3CA5-AE38-C08B73F6551A}"/>
              </a:ext>
            </a:extLst>
          </p:cNvPr>
          <p:cNvSpPr/>
          <p:nvPr/>
        </p:nvSpPr>
        <p:spPr>
          <a:xfrm flipH="1">
            <a:off x="4091354" y="2067578"/>
            <a:ext cx="7725508" cy="3043684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ounded Rectangle 17">
            <a:extLst>
              <a:ext uri="{FF2B5EF4-FFF2-40B4-BE49-F238E27FC236}">
                <a16:creationId xmlns:a16="http://schemas.microsoft.com/office/drawing/2014/main" id="{F97E19F5-EF0F-7D9D-D2BA-C7500F5772F2}"/>
              </a:ext>
            </a:extLst>
          </p:cNvPr>
          <p:cNvSpPr/>
          <p:nvPr/>
        </p:nvSpPr>
        <p:spPr>
          <a:xfrm>
            <a:off x="4218998" y="2369825"/>
            <a:ext cx="7492086" cy="481432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torag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636613"/>
      </p:ext>
    </p:extLst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8ADF0-4D72-EE68-027E-2183B71AE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7EBD030-7E87-FB78-C05D-B47E2B536E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02BF08-F8BA-3537-3E6A-3EC982FFF7C7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Stor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102679-D442-81EE-7184-947F64A2E9DF}"/>
              </a:ext>
            </a:extLst>
          </p:cNvPr>
          <p:cNvSpPr txBox="1"/>
          <p:nvPr/>
        </p:nvSpPr>
        <p:spPr>
          <a:xfrm>
            <a:off x="1078523" y="1271228"/>
            <a:ext cx="858129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N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ConfigMap</a:t>
            </a:r>
            <a:r>
              <a:rPr lang="en-US" b="1" dirty="0">
                <a:latin typeface="Gilroy LİGHT" panose="00000400000000000000"/>
              </a:rPr>
              <a:t> &amp; Secr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PersistentVoulmeClaim</a:t>
            </a:r>
            <a:r>
              <a:rPr lang="en-US" b="1" dirty="0">
                <a:latin typeface="Gilroy LİGHT" panose="00000400000000000000"/>
              </a:rPr>
              <a:t>(PVC)</a:t>
            </a:r>
          </a:p>
          <a:p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EmptyDir</a:t>
            </a:r>
            <a:endParaRPr lang="en-US" b="1" dirty="0">
              <a:latin typeface="Gilroy LİGHT" panose="00000400000000000000"/>
            </a:endParaRP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DB93B7DD-20F2-7187-50E5-C2AC855FC469}"/>
              </a:ext>
            </a:extLst>
          </p:cNvPr>
          <p:cNvSpPr/>
          <p:nvPr/>
        </p:nvSpPr>
        <p:spPr>
          <a:xfrm>
            <a:off x="2508559" y="4845401"/>
            <a:ext cx="2755102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B93DE63E-CBB8-1E1D-9B16-612EA7790329}"/>
              </a:ext>
            </a:extLst>
          </p:cNvPr>
          <p:cNvSpPr/>
          <p:nvPr/>
        </p:nvSpPr>
        <p:spPr>
          <a:xfrm>
            <a:off x="2895509" y="5368622"/>
            <a:ext cx="1993013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EA5424-2350-93A9-1DE4-6AFD2628CDCF}"/>
              </a:ext>
            </a:extLst>
          </p:cNvPr>
          <p:cNvSpPr txBox="1"/>
          <p:nvPr/>
        </p:nvSpPr>
        <p:spPr>
          <a:xfrm>
            <a:off x="2508559" y="4845401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8F16B7F-6EB9-CD08-DEFA-27860518229F}"/>
              </a:ext>
            </a:extLst>
          </p:cNvPr>
          <p:cNvCxnSpPr>
            <a:stCxn id="3" idx="3"/>
          </p:cNvCxnSpPr>
          <p:nvPr/>
        </p:nvCxnSpPr>
        <p:spPr>
          <a:xfrm flipV="1">
            <a:off x="5263661" y="5655596"/>
            <a:ext cx="1711569" cy="114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Data usage icon vector SVG, PNG download free - 3">
            <a:extLst>
              <a:ext uri="{FF2B5EF4-FFF2-40B4-BE49-F238E27FC236}">
                <a16:creationId xmlns:a16="http://schemas.microsoft.com/office/drawing/2014/main" id="{58CFBDCC-3648-6071-4ADF-FD7848BF9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230" y="5047093"/>
            <a:ext cx="1042253" cy="1042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68A1379-C973-40B7-2ADD-6F2168B29475}"/>
              </a:ext>
            </a:extLst>
          </p:cNvPr>
          <p:cNvSpPr txBox="1"/>
          <p:nvPr/>
        </p:nvSpPr>
        <p:spPr>
          <a:xfrm>
            <a:off x="7080738" y="6119446"/>
            <a:ext cx="1453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ilroy LİGHT" panose="00000400000000000000"/>
              </a:rPr>
              <a:t>Volume</a:t>
            </a:r>
          </a:p>
        </p:txBody>
      </p:sp>
    </p:spTree>
    <p:extLst>
      <p:ext uri="{BB962C8B-B14F-4D97-AF65-F5344CB8AC3E}">
        <p14:creationId xmlns:p14="http://schemas.microsoft.com/office/powerpoint/2010/main" val="406093207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8E96C4F-466F-4C68-43ED-358942DF2FD3}"/>
              </a:ext>
            </a:extLst>
          </p:cNvPr>
          <p:cNvSpPr txBox="1"/>
          <p:nvPr/>
        </p:nvSpPr>
        <p:spPr>
          <a:xfrm>
            <a:off x="377446" y="790519"/>
            <a:ext cx="11340000" cy="377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tr-TR" sz="3000" b="1" i="0" u="none" strike="noStrike" kern="0" cap="none" spc="-1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Self-</a:t>
            </a:r>
            <a:r>
              <a:rPr kumimoji="0" lang="tr-TR" sz="3000" b="1" i="0" u="none" strike="noStrike" kern="0" cap="none" spc="-1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introduction</a:t>
            </a:r>
            <a:endParaRPr kumimoji="0" lang="en-US" sz="3000" b="1" i="0" u="none" strike="noStrike" kern="0" cap="none" spc="-1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Light" panose="00000400000000000000" pitchFamily="50" charset="0"/>
              <a:ea typeface="Gilroy-Bold ☞" charset="0"/>
              <a:cs typeface="Gilroy-Bold ☞" charset="0"/>
              <a:sym typeface="Gilroy" panose="00000500000000000000" pitchFamily="50" charset="0"/>
            </a:endParaRPr>
          </a:p>
        </p:txBody>
      </p:sp>
      <p:pic>
        <p:nvPicPr>
          <p:cNvPr id="1026" name="Picture 2" descr="Young people standing and talking each other. Speech bubble, smartphone, girl flat vector illustration. Communication and discussion">
            <a:extLst>
              <a:ext uri="{FF2B5EF4-FFF2-40B4-BE49-F238E27FC236}">
                <a16:creationId xmlns:a16="http://schemas.microsoft.com/office/drawing/2014/main" id="{3C22B242-240C-7A07-ED95-F653A35E31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795" y="1341852"/>
            <a:ext cx="7878333" cy="451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9629604-C4DC-DC28-53A4-B3E1D8C96B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1842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168292-CF5D-E323-FB7B-17EA33E91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58C486A-C519-8B58-085B-34E9BAEA1A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F7E233E-38BA-266C-622D-6A428280E2E4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Stor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FE376A-DF33-7FBD-C3F4-A0DA9F6D6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721" y="1233190"/>
            <a:ext cx="9410334" cy="425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75691"/>
      </p:ext>
    </p:extLst>
  </p:cSld>
  <p:clrMapOvr>
    <a:masterClrMapping/>
  </p:clrMapOvr>
  <p:transition spd="med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B32B7-6575-048E-EF5C-07B4A76D6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62B2398-003A-3BBD-804A-3C4CD49982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FD307F1-2859-335D-88F0-4C5B2CE3397B}"/>
              </a:ext>
            </a:extLst>
          </p:cNvPr>
          <p:cNvSpPr txBox="1"/>
          <p:nvPr/>
        </p:nvSpPr>
        <p:spPr>
          <a:xfrm>
            <a:off x="827721" y="738554"/>
            <a:ext cx="102857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latin typeface="Gilroy LİGHT" panose="00000400000000000000"/>
              </a:rPr>
              <a:t>PersistentVolumes</a:t>
            </a:r>
            <a:r>
              <a:rPr lang="en-US" sz="2400" b="1" dirty="0">
                <a:latin typeface="Gilroy LİGHT" panose="00000400000000000000"/>
              </a:rPr>
              <a:t> and </a:t>
            </a:r>
            <a:r>
              <a:rPr lang="en-US" sz="2400" b="1" dirty="0" err="1">
                <a:latin typeface="Gilroy LİGHT" panose="00000400000000000000"/>
              </a:rPr>
              <a:t>PersistentVolumeClaims</a:t>
            </a:r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9AD86A-0415-2526-D9D4-5E7819C67B21}"/>
              </a:ext>
            </a:extLst>
          </p:cNvPr>
          <p:cNvSpPr txBox="1"/>
          <p:nvPr/>
        </p:nvSpPr>
        <p:spPr>
          <a:xfrm>
            <a:off x="1078523" y="1271228"/>
            <a:ext cx="85812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A </a:t>
            </a:r>
            <a:r>
              <a:rPr lang="en-US" b="1" dirty="0" err="1">
                <a:latin typeface="Gilroy LİGHT" panose="00000400000000000000"/>
              </a:rPr>
              <a:t>PersistentVolume</a:t>
            </a:r>
            <a:r>
              <a:rPr lang="en-US" b="1" dirty="0">
                <a:latin typeface="Gilroy LİGHT" panose="00000400000000000000"/>
              </a:rPr>
              <a:t> </a:t>
            </a:r>
            <a:r>
              <a:rPr lang="en-US" dirty="0">
                <a:latin typeface="Gilroy LİGHT" panose="00000400000000000000"/>
              </a:rPr>
              <a:t>is a cluster wide storage unit provisioned by and administrator with a lifecycle independent from a Pod</a:t>
            </a:r>
            <a:r>
              <a:rPr lang="en-US" b="1" dirty="0">
                <a:latin typeface="Gilroy LİGHT" panose="0000040000000000000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A persistent Volume Claim </a:t>
            </a:r>
            <a:r>
              <a:rPr lang="en-US" dirty="0">
                <a:latin typeface="Gilroy LİGHT" panose="00000400000000000000"/>
              </a:rPr>
              <a:t>is a request for a storage unit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248BE698-3324-1A24-1984-76BD1C0180AA}"/>
              </a:ext>
            </a:extLst>
          </p:cNvPr>
          <p:cNvSpPr/>
          <p:nvPr/>
        </p:nvSpPr>
        <p:spPr>
          <a:xfrm>
            <a:off x="7225291" y="3396126"/>
            <a:ext cx="2189769" cy="724911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3DA005-03D5-165A-3E04-FCA3A82924E1}"/>
              </a:ext>
            </a:extLst>
          </p:cNvPr>
          <p:cNvSpPr txBox="1"/>
          <p:nvPr/>
        </p:nvSpPr>
        <p:spPr>
          <a:xfrm>
            <a:off x="7979740" y="3458546"/>
            <a:ext cx="1351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V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9DED538-93EA-85C0-90B8-237E6B9C2C69}"/>
              </a:ext>
            </a:extLst>
          </p:cNvPr>
          <p:cNvCxnSpPr>
            <a:cxnSpLocks/>
            <a:stCxn id="3" idx="3"/>
            <a:endCxn id="18" idx="1"/>
          </p:cNvCxnSpPr>
          <p:nvPr/>
        </p:nvCxnSpPr>
        <p:spPr>
          <a:xfrm flipV="1">
            <a:off x="9415060" y="3656793"/>
            <a:ext cx="1259938" cy="101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Data usage icon vector SVG, PNG download free - 3">
            <a:extLst>
              <a:ext uri="{FF2B5EF4-FFF2-40B4-BE49-F238E27FC236}">
                <a16:creationId xmlns:a16="http://schemas.microsoft.com/office/drawing/2014/main" id="{4A03248C-0B33-C5D5-54C9-3C5FE3CA9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386" y="4949945"/>
            <a:ext cx="911577" cy="911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B534BB8-1A16-E0F9-61C9-8FC502241F14}"/>
              </a:ext>
            </a:extLst>
          </p:cNvPr>
          <p:cNvSpPr txBox="1"/>
          <p:nvPr/>
        </p:nvSpPr>
        <p:spPr>
          <a:xfrm>
            <a:off x="7864386" y="5946423"/>
            <a:ext cx="1271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>
                <a:latin typeface="Gilroy LİGHT" panose="00000400000000000000"/>
              </a:rPr>
              <a:t>Storege</a:t>
            </a:r>
            <a:endParaRPr lang="en-US" b="1" dirty="0">
              <a:latin typeface="Gilroy LİGHT" panose="00000400000000000000"/>
            </a:endParaRPr>
          </a:p>
        </p:txBody>
      </p:sp>
      <p:sp>
        <p:nvSpPr>
          <p:cNvPr id="6" name="Rounded Rectangle 17">
            <a:extLst>
              <a:ext uri="{FF2B5EF4-FFF2-40B4-BE49-F238E27FC236}">
                <a16:creationId xmlns:a16="http://schemas.microsoft.com/office/drawing/2014/main" id="{DB863141-90C3-B182-99B3-F6A0D46E972D}"/>
              </a:ext>
            </a:extLst>
          </p:cNvPr>
          <p:cNvSpPr/>
          <p:nvPr/>
        </p:nvSpPr>
        <p:spPr>
          <a:xfrm>
            <a:off x="4038107" y="3411997"/>
            <a:ext cx="2004941" cy="724911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bg1"/>
                </a:solidFill>
                <a:latin typeface="Gilroy LİGHT" panose="00000400000000000000"/>
              </a:rPr>
              <a:t>PVC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4C4C5C0-BA75-47C9-3448-B85165DB040B}"/>
              </a:ext>
            </a:extLst>
          </p:cNvPr>
          <p:cNvCxnSpPr>
            <a:cxnSpLocks/>
            <a:stCxn id="6" idx="3"/>
            <a:endCxn id="3" idx="1"/>
          </p:cNvCxnSpPr>
          <p:nvPr/>
        </p:nvCxnSpPr>
        <p:spPr>
          <a:xfrm flipV="1">
            <a:off x="6043048" y="3758582"/>
            <a:ext cx="1182243" cy="15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E407FBB-83CC-411E-3520-085E4F1C6BBE}"/>
              </a:ext>
            </a:extLst>
          </p:cNvPr>
          <p:cNvCxnSpPr>
            <a:cxnSpLocks/>
            <a:stCxn id="3" idx="2"/>
            <a:endCxn id="4098" idx="0"/>
          </p:cNvCxnSpPr>
          <p:nvPr/>
        </p:nvCxnSpPr>
        <p:spPr>
          <a:xfrm flipH="1">
            <a:off x="8320175" y="4121037"/>
            <a:ext cx="1" cy="8289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>
            <a:extLst>
              <a:ext uri="{FF2B5EF4-FFF2-40B4-BE49-F238E27FC236}">
                <a16:creationId xmlns:a16="http://schemas.microsoft.com/office/drawing/2014/main" id="{FF58D76A-0A92-B1A8-FA6D-4B7845E7D7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998" y="3003231"/>
            <a:ext cx="1348524" cy="1307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ounded Rectangle 17">
            <a:extLst>
              <a:ext uri="{FF2B5EF4-FFF2-40B4-BE49-F238E27FC236}">
                <a16:creationId xmlns:a16="http://schemas.microsoft.com/office/drawing/2014/main" id="{D175FF1A-61F1-DCC9-36CE-D5A35F0C5F51}"/>
              </a:ext>
            </a:extLst>
          </p:cNvPr>
          <p:cNvSpPr/>
          <p:nvPr/>
        </p:nvSpPr>
        <p:spPr>
          <a:xfrm>
            <a:off x="522319" y="3247739"/>
            <a:ext cx="2092376" cy="101613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20" name="Rounded Rectangle 17">
            <a:extLst>
              <a:ext uri="{FF2B5EF4-FFF2-40B4-BE49-F238E27FC236}">
                <a16:creationId xmlns:a16="http://schemas.microsoft.com/office/drawing/2014/main" id="{9D33AFB5-91A1-6500-548C-12C36323AEE0}"/>
              </a:ext>
            </a:extLst>
          </p:cNvPr>
          <p:cNvSpPr/>
          <p:nvPr/>
        </p:nvSpPr>
        <p:spPr>
          <a:xfrm>
            <a:off x="909269" y="3770960"/>
            <a:ext cx="1621485" cy="412076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2529C4-81D7-05A1-AEDC-212507EF90E0}"/>
              </a:ext>
            </a:extLst>
          </p:cNvPr>
          <p:cNvSpPr txBox="1"/>
          <p:nvPr/>
        </p:nvSpPr>
        <p:spPr>
          <a:xfrm>
            <a:off x="522320" y="3247739"/>
            <a:ext cx="1173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A654B51-E92F-32A7-7B46-46FE81D4E818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2614695" y="3755808"/>
            <a:ext cx="1423412" cy="186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246465"/>
      </p:ext>
    </p:extLst>
  </p:cSld>
  <p:clrMapOvr>
    <a:masterClrMapping/>
  </p:clrMapOvr>
  <p:transition spd="med"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1225CC-D2E0-F3A0-B459-5126C2B52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A87C9AA-CA9C-C8AA-1DA4-7BD57F5598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4DF053-692B-E43A-557A-F786CDEE1445}"/>
              </a:ext>
            </a:extLst>
          </p:cNvPr>
          <p:cNvSpPr txBox="1"/>
          <p:nvPr/>
        </p:nvSpPr>
        <p:spPr>
          <a:xfrm>
            <a:off x="669992" y="507721"/>
            <a:ext cx="102857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latin typeface="Gilroy LİGHT" panose="00000400000000000000"/>
              </a:rPr>
              <a:t>PersistentVolumes</a:t>
            </a:r>
            <a:r>
              <a:rPr lang="en-US" sz="2400" b="1" dirty="0">
                <a:latin typeface="Gilroy LİGHT" panose="00000400000000000000"/>
              </a:rPr>
              <a:t> and </a:t>
            </a:r>
            <a:r>
              <a:rPr lang="en-US" sz="2400" b="1" dirty="0" err="1">
                <a:latin typeface="Gilroy LİGHT" panose="00000400000000000000"/>
              </a:rPr>
              <a:t>PersistentVolumeClaims</a:t>
            </a:r>
            <a:endParaRPr lang="en-US" sz="2400" b="1" dirty="0">
              <a:latin typeface="Gilroy LİGHT" panose="0000040000000000000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CB5E48-B088-FF7C-AD85-A1C294B9B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757" y="1266758"/>
            <a:ext cx="4629150" cy="24193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816A488-A3EC-3FE2-B1E8-019BD7BFF1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8171" y="1447733"/>
            <a:ext cx="3333750" cy="20574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EBFFD2B-7613-DC16-2851-43D61A00BE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9537" y="3618433"/>
            <a:ext cx="4179519" cy="3019489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1F0CC43-33E5-8FAB-70CD-585D01594492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>
            <a:off x="5136907" y="2476433"/>
            <a:ext cx="221126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2869398"/>
      </p:ext>
    </p:extLst>
  </p:cSld>
  <p:clrMapOvr>
    <a:masterClrMapping/>
  </p:clrMapOvr>
  <p:transition spd="med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BCB11-78B3-3412-13BC-D654E4D0BA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DB5A43-5CD0-A6C4-C5D5-A26C162EF4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E3CB9892-85A7-7E8D-3F50-49B42FC483E4}"/>
              </a:ext>
            </a:extLst>
          </p:cNvPr>
          <p:cNvSpPr/>
          <p:nvPr/>
        </p:nvSpPr>
        <p:spPr>
          <a:xfrm>
            <a:off x="4218998" y="323659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6" name="Rounded Rectangle 17">
            <a:extLst>
              <a:ext uri="{FF2B5EF4-FFF2-40B4-BE49-F238E27FC236}">
                <a16:creationId xmlns:a16="http://schemas.microsoft.com/office/drawing/2014/main" id="{11D5F5E7-85CD-E776-5327-12C96D1FB082}"/>
              </a:ext>
            </a:extLst>
          </p:cNvPr>
          <p:cNvSpPr/>
          <p:nvPr/>
        </p:nvSpPr>
        <p:spPr>
          <a:xfrm>
            <a:off x="4605949" y="375981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A86B33-7A80-37C6-3073-460142A81AA5}"/>
              </a:ext>
            </a:extLst>
          </p:cNvPr>
          <p:cNvSpPr txBox="1"/>
          <p:nvPr/>
        </p:nvSpPr>
        <p:spPr>
          <a:xfrm>
            <a:off x="4218998" y="323659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FF84A6-175E-09FA-4EE3-A18ECB8506E4}"/>
              </a:ext>
            </a:extLst>
          </p:cNvPr>
          <p:cNvSpPr txBox="1"/>
          <p:nvPr/>
        </p:nvSpPr>
        <p:spPr>
          <a:xfrm>
            <a:off x="430199" y="856462"/>
            <a:ext cx="594580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Gilroy LİGHT" panose="00000400000000000000"/>
              </a:rPr>
              <a:t>Kubernetes </a:t>
            </a:r>
            <a:r>
              <a:rPr lang="en-US" sz="2800" b="1" dirty="0" err="1">
                <a:latin typeface="Gilroy LİGHT" panose="00000400000000000000"/>
              </a:rPr>
              <a:t>ConfigMaps</a:t>
            </a:r>
            <a:r>
              <a:rPr lang="en-US" sz="2800" b="1" dirty="0">
                <a:latin typeface="Gilroy LİGHT" panose="00000400000000000000"/>
              </a:rPr>
              <a:t> &amp; Secrets</a:t>
            </a:r>
          </a:p>
          <a:p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C1883E2D-1A74-E6D8-DCBA-AD580C9C014D}"/>
              </a:ext>
            </a:extLst>
          </p:cNvPr>
          <p:cNvSpPr/>
          <p:nvPr/>
        </p:nvSpPr>
        <p:spPr>
          <a:xfrm>
            <a:off x="6778057" y="3236596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A80F943D-A976-8D52-CD1F-2EC93A1D9FF7}"/>
              </a:ext>
            </a:extLst>
          </p:cNvPr>
          <p:cNvSpPr/>
          <p:nvPr/>
        </p:nvSpPr>
        <p:spPr>
          <a:xfrm>
            <a:off x="7165008" y="3759817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9696B8-FF80-C472-3A85-7B703480FD4B}"/>
              </a:ext>
            </a:extLst>
          </p:cNvPr>
          <p:cNvSpPr txBox="1"/>
          <p:nvPr/>
        </p:nvSpPr>
        <p:spPr>
          <a:xfrm>
            <a:off x="6778057" y="3236596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1F05B34C-8C22-AA21-C483-C924BE8AD530}"/>
              </a:ext>
            </a:extLst>
          </p:cNvPr>
          <p:cNvSpPr/>
          <p:nvPr/>
        </p:nvSpPr>
        <p:spPr>
          <a:xfrm>
            <a:off x="9296221" y="3217937"/>
            <a:ext cx="2414863" cy="1643377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CDA6B27C-3C6F-9FB6-61C1-72BDBC9FDFF1}"/>
              </a:ext>
            </a:extLst>
          </p:cNvPr>
          <p:cNvSpPr/>
          <p:nvPr/>
        </p:nvSpPr>
        <p:spPr>
          <a:xfrm>
            <a:off x="9683172" y="3741158"/>
            <a:ext cx="1770060" cy="666442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Contai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CB19BB-37D1-7455-74DC-D2D6654BDD55}"/>
              </a:ext>
            </a:extLst>
          </p:cNvPr>
          <p:cNvSpPr txBox="1"/>
          <p:nvPr/>
        </p:nvSpPr>
        <p:spPr>
          <a:xfrm>
            <a:off x="9296221" y="3217937"/>
            <a:ext cx="154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Pod</a:t>
            </a:r>
          </a:p>
        </p:txBody>
      </p: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7A260441-7E19-3FD2-E519-9C852F6FE3C3}"/>
              </a:ext>
            </a:extLst>
          </p:cNvPr>
          <p:cNvSpPr/>
          <p:nvPr/>
        </p:nvSpPr>
        <p:spPr>
          <a:xfrm>
            <a:off x="4218998" y="5199335"/>
            <a:ext cx="7492086" cy="481432"/>
          </a:xfrm>
          <a:prstGeom prst="roundRect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B8959014-65AB-1949-ADEF-B58C1874DFA0}"/>
              </a:ext>
            </a:extLst>
          </p:cNvPr>
          <p:cNvSpPr/>
          <p:nvPr/>
        </p:nvSpPr>
        <p:spPr>
          <a:xfrm>
            <a:off x="221429" y="3294158"/>
            <a:ext cx="3739717" cy="15858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4AC4FF0-940B-7BF8-1901-088208400B52}"/>
              </a:ext>
            </a:extLst>
          </p:cNvPr>
          <p:cNvSpPr/>
          <p:nvPr/>
        </p:nvSpPr>
        <p:spPr>
          <a:xfrm>
            <a:off x="608379" y="3817379"/>
            <a:ext cx="2741159" cy="643100"/>
          </a:xfrm>
          <a:prstGeom prst="roundRect">
            <a:avLst/>
          </a:prstGeom>
          <a:solidFill>
            <a:srgbClr val="00B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" panose="00000500000000000000"/>
                <a:ea typeface="+mn-ea"/>
                <a:cs typeface="+mn-cs"/>
              </a:rPr>
              <a:t>ReplicaSe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041723-EBAE-DA40-3358-71C28098F54F}"/>
              </a:ext>
            </a:extLst>
          </p:cNvPr>
          <p:cNvSpPr txBox="1"/>
          <p:nvPr/>
        </p:nvSpPr>
        <p:spPr>
          <a:xfrm>
            <a:off x="221429" y="3294158"/>
            <a:ext cx="239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ilroy LİGHT" panose="00000400000000000000"/>
              </a:rPr>
              <a:t>Deploy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83295D4-8088-A6EA-48D5-776625F1E306}"/>
              </a:ext>
            </a:extLst>
          </p:cNvPr>
          <p:cNvSpPr/>
          <p:nvPr/>
        </p:nvSpPr>
        <p:spPr>
          <a:xfrm flipH="1">
            <a:off x="4091354" y="2067578"/>
            <a:ext cx="7725508" cy="3043684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ounded Rectangle 17">
            <a:extLst>
              <a:ext uri="{FF2B5EF4-FFF2-40B4-BE49-F238E27FC236}">
                <a16:creationId xmlns:a16="http://schemas.microsoft.com/office/drawing/2014/main" id="{C1284828-992A-DC09-96BF-BD8C5E247573}"/>
              </a:ext>
            </a:extLst>
          </p:cNvPr>
          <p:cNvSpPr/>
          <p:nvPr/>
        </p:nvSpPr>
        <p:spPr>
          <a:xfrm>
            <a:off x="4218998" y="2369825"/>
            <a:ext cx="7492086" cy="481432"/>
          </a:xfrm>
          <a:prstGeom prst="roundRect">
            <a:avLst/>
          </a:prstGeom>
          <a:solidFill>
            <a:srgbClr val="0126B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Storage/</a:t>
            </a:r>
            <a:r>
              <a:rPr lang="en-US" sz="2400" dirty="0" err="1">
                <a:solidFill>
                  <a:srgbClr val="FFFFFF"/>
                </a:solidFill>
                <a:latin typeface="Gilroy" panose="00000500000000000000"/>
              </a:rPr>
              <a:t>ConfigMaps</a:t>
            </a:r>
            <a:r>
              <a:rPr lang="en-US" sz="2400" dirty="0">
                <a:solidFill>
                  <a:srgbClr val="FFFFFF"/>
                </a:solidFill>
                <a:latin typeface="Gilroy" panose="00000500000000000000"/>
              </a:rPr>
              <a:t>/Secret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948098"/>
      </p:ext>
    </p:extLst>
  </p:cSld>
  <p:clrMapOvr>
    <a:masterClrMapping/>
  </p:clrMapOvr>
  <p:transition spd="med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574A71-6F46-3956-1C3D-B7825D811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830ACF7-0E0B-6836-D62D-0A1E2214E555}"/>
              </a:ext>
            </a:extLst>
          </p:cNvPr>
          <p:cNvSpPr txBox="1"/>
          <p:nvPr/>
        </p:nvSpPr>
        <p:spPr>
          <a:xfrm>
            <a:off x="390209" y="3670989"/>
            <a:ext cx="6407523" cy="296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 err="1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ConfigMaps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provide a way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t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o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store configuration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information a</a:t>
            </a:r>
            <a:r>
              <a:rPr kumimoji="0" lang="en-US" sz="4800" b="1" i="0" u="none" strike="noStrike" kern="1200" cap="none" spc="-150" normalizeH="0" baseline="0" noProof="0" dirty="0" err="1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nd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pro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vide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it to containers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endParaRPr kumimoji="0" lang="en-US" sz="4800" b="1" i="0" u="none" strike="noStrike" kern="1200" cap="none" spc="-150" normalizeH="0" baseline="0" noProof="0" dirty="0">
              <a:ln>
                <a:noFill/>
              </a:ln>
              <a:solidFill>
                <a:srgbClr val="0037FF"/>
              </a:solidFill>
              <a:effectLst/>
              <a:uLnTx/>
              <a:uFillTx/>
              <a:latin typeface="Gilroy Light" panose="00000400000000000000" pitchFamily="50" charset="0"/>
              <a:ea typeface="Gilroy-Bold ☞" charset="0"/>
              <a:cs typeface="Gilroy-Bold ☞" charset="0"/>
              <a:sym typeface="Gilroy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774825"/>
      </p:ext>
    </p:extLst>
  </p:cSld>
  <p:clrMapOvr>
    <a:masterClrMapping/>
  </p:clrMapOvr>
  <p:transition spd="med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94EF8-ACFF-E1D6-ABA8-F7834D652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A4B8ABC-BE26-7852-61A5-AD7868FE50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95ADD2-66C5-A998-F440-26A11EC9C9DB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</a:t>
            </a:r>
            <a:r>
              <a:rPr lang="en-US" sz="2400" b="1" dirty="0" err="1">
                <a:latin typeface="Gilroy LİGHT" panose="00000400000000000000"/>
              </a:rPr>
              <a:t>ConfigMap</a:t>
            </a:r>
            <a:endParaRPr lang="en-US" sz="2400" b="1" dirty="0">
              <a:latin typeface="Gilroy LİGHT" panose="0000040000000000000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0A1583-ED51-5AB0-A514-D4DA22752EEA}"/>
              </a:ext>
            </a:extLst>
          </p:cNvPr>
          <p:cNvSpPr txBox="1"/>
          <p:nvPr/>
        </p:nvSpPr>
        <p:spPr>
          <a:xfrm>
            <a:off x="1078523" y="1271228"/>
            <a:ext cx="8581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Provides a way to inject configuration data into a contai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Can store entire files or provide key/value -&gt; JSON, XML</a:t>
            </a:r>
          </a:p>
        </p:txBody>
      </p:sp>
      <p:sp>
        <p:nvSpPr>
          <p:cNvPr id="3" name="Rounded Rectangle 17">
            <a:extLst>
              <a:ext uri="{FF2B5EF4-FFF2-40B4-BE49-F238E27FC236}">
                <a16:creationId xmlns:a16="http://schemas.microsoft.com/office/drawing/2014/main" id="{F8083448-C784-6033-D9E4-12DD604AE919}"/>
              </a:ext>
            </a:extLst>
          </p:cNvPr>
          <p:cNvSpPr/>
          <p:nvPr/>
        </p:nvSpPr>
        <p:spPr>
          <a:xfrm>
            <a:off x="2582326" y="2287577"/>
            <a:ext cx="2755102" cy="2463039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D707D0-686C-2D41-01F3-D9BDD307AA42}"/>
              </a:ext>
            </a:extLst>
          </p:cNvPr>
          <p:cNvSpPr txBox="1"/>
          <p:nvPr/>
        </p:nvSpPr>
        <p:spPr>
          <a:xfrm>
            <a:off x="3004660" y="2491428"/>
            <a:ext cx="189558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Gilroy LİGHT" panose="00000400000000000000"/>
              </a:rPr>
              <a:t>         Pod</a:t>
            </a:r>
          </a:p>
          <a:p>
            <a:r>
              <a:rPr lang="en-US" sz="2000" dirty="0">
                <a:solidFill>
                  <a:schemeClr val="bg1"/>
                </a:solidFill>
                <a:latin typeface="Gilroy LİGHT" panose="00000400000000000000"/>
              </a:rPr>
              <a:t>Environment</a:t>
            </a:r>
          </a:p>
          <a:p>
            <a:r>
              <a:rPr lang="en-US" sz="2000" dirty="0">
                <a:solidFill>
                  <a:schemeClr val="bg1"/>
                </a:solidFill>
                <a:latin typeface="Gilroy LİGHT" panose="00000400000000000000"/>
              </a:rPr>
              <a:t>    Variables</a:t>
            </a:r>
          </a:p>
          <a:p>
            <a:endParaRPr lang="en-US" sz="2000" dirty="0">
              <a:solidFill>
                <a:schemeClr val="bg1"/>
              </a:solidFill>
              <a:latin typeface="Gilroy LİGHT" panose="00000400000000000000"/>
            </a:endParaRPr>
          </a:p>
          <a:p>
            <a:r>
              <a:rPr lang="en-US" sz="2000" dirty="0" err="1">
                <a:solidFill>
                  <a:schemeClr val="bg1"/>
                </a:solidFill>
                <a:latin typeface="Gilroy LİGHT" panose="00000400000000000000"/>
              </a:rPr>
              <a:t>ConfigMap</a:t>
            </a:r>
            <a:endParaRPr lang="en-US" sz="2000" dirty="0">
              <a:solidFill>
                <a:schemeClr val="bg1"/>
              </a:solidFill>
              <a:latin typeface="Gilroy LİGHT" panose="00000400000000000000"/>
            </a:endParaRPr>
          </a:p>
          <a:p>
            <a:r>
              <a:rPr lang="en-US" sz="2000" dirty="0">
                <a:solidFill>
                  <a:schemeClr val="bg1"/>
                </a:solidFill>
                <a:latin typeface="Gilroy LİGHT" panose="00000400000000000000"/>
              </a:rPr>
              <a:t>   Volum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6AE04A5-186F-18C2-5A45-0A03DA1EB9FF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700235" y="3097772"/>
            <a:ext cx="2348761" cy="367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B2EF175E-F014-0BF6-420D-FDDCC7B78070}"/>
              </a:ext>
            </a:extLst>
          </p:cNvPr>
          <p:cNvSpPr/>
          <p:nvPr/>
        </p:nvSpPr>
        <p:spPr>
          <a:xfrm>
            <a:off x="7048996" y="2499860"/>
            <a:ext cx="2373107" cy="1930559"/>
          </a:xfrm>
          <a:prstGeom prst="roundRect">
            <a:avLst/>
          </a:prstGeom>
          <a:solidFill>
            <a:srgbClr val="80CAB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9E177F0-1ECC-762F-A83C-2E7FD6B973E5}"/>
              </a:ext>
            </a:extLst>
          </p:cNvPr>
          <p:cNvSpPr txBox="1"/>
          <p:nvPr/>
        </p:nvSpPr>
        <p:spPr>
          <a:xfrm>
            <a:off x="7486179" y="2708269"/>
            <a:ext cx="17115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Gilroy LİGHT" panose="00000400000000000000"/>
              </a:rPr>
              <a:t>ConfigMap</a:t>
            </a:r>
            <a:br>
              <a:rPr lang="en-US" dirty="0">
                <a:solidFill>
                  <a:schemeClr val="bg1"/>
                </a:solidFill>
                <a:latin typeface="Gilroy LİGHT" panose="00000400000000000000"/>
              </a:rPr>
            </a:br>
            <a:br>
              <a:rPr lang="en-US" dirty="0">
                <a:solidFill>
                  <a:schemeClr val="bg1"/>
                </a:solidFill>
                <a:latin typeface="Gilroy LİGHT" panose="00000400000000000000"/>
              </a:rPr>
            </a:br>
            <a:r>
              <a:rPr lang="en-US" dirty="0">
                <a:solidFill>
                  <a:schemeClr val="bg1"/>
                </a:solidFill>
                <a:latin typeface="Gilroy LİGHT" panose="00000400000000000000"/>
              </a:rPr>
              <a:t>Key1 =value1</a:t>
            </a:r>
            <a:br>
              <a:rPr lang="en-US" dirty="0">
                <a:solidFill>
                  <a:schemeClr val="bg1"/>
                </a:solidFill>
                <a:latin typeface="Gilroy LİGHT" panose="00000400000000000000"/>
              </a:rPr>
            </a:br>
            <a:r>
              <a:rPr lang="en-US" dirty="0">
                <a:solidFill>
                  <a:schemeClr val="bg1"/>
                </a:solidFill>
                <a:latin typeface="Gilroy LİGHT" panose="00000400000000000000"/>
              </a:rPr>
              <a:t>Key2 = value2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10BE789-C267-9679-A758-4C5A97EDDA44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4475880" y="3465140"/>
            <a:ext cx="2573116" cy="5286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5DE2719-32D9-6B41-E1FE-7288E136C966}"/>
              </a:ext>
            </a:extLst>
          </p:cNvPr>
          <p:cNvSpPr txBox="1"/>
          <p:nvPr/>
        </p:nvSpPr>
        <p:spPr>
          <a:xfrm>
            <a:off x="1046782" y="5071784"/>
            <a:ext cx="85812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>
                <a:latin typeface="Gilroy LİGHT" panose="00000400000000000000"/>
              </a:rPr>
              <a:t>ConfigMaps</a:t>
            </a:r>
            <a:r>
              <a:rPr lang="en-US" b="1" dirty="0">
                <a:latin typeface="Gilroy LİGHT" panose="00000400000000000000"/>
              </a:rPr>
              <a:t> can be accessed from a pod u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4276599107"/>
      </p:ext>
    </p:extLst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FF602D-A78B-9CD4-F101-00E2CA73A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81F9D6A-B1AC-7ED6-E447-EE6CE31546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229C1F-36DE-3723-1921-26B19D3F3871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</a:t>
            </a:r>
            <a:r>
              <a:rPr lang="en-US" sz="2400" b="1" dirty="0" err="1">
                <a:latin typeface="Gilroy LİGHT" panose="00000400000000000000"/>
              </a:rPr>
              <a:t>ConfigMap</a:t>
            </a:r>
            <a:endParaRPr lang="en-US" sz="2400" b="1" dirty="0">
              <a:latin typeface="Gilroy LİGHT" panose="0000040000000000000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4D6FBC-3647-65AE-C3E5-62F83C9D9A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3305" y="1200219"/>
            <a:ext cx="5495925" cy="18383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3E1220-ADCD-D3F1-65FE-5AF8283C60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921" y="3819457"/>
            <a:ext cx="3524250" cy="22193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2E160AA-2ECB-E7FB-DA25-D5D5993B80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3429000"/>
            <a:ext cx="3852754" cy="314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719400"/>
      </p:ext>
    </p:extLst>
  </p:cSld>
  <p:clrMapOvr>
    <a:masterClrMapping/>
  </p:clrMapOvr>
  <p:transition spd="med"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04EFC4-206D-C639-D385-5C776600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AF2039F-60D7-ED91-87D5-770B699D6EAA}"/>
              </a:ext>
            </a:extLst>
          </p:cNvPr>
          <p:cNvSpPr txBox="1"/>
          <p:nvPr/>
        </p:nvSpPr>
        <p:spPr>
          <a:xfrm>
            <a:off x="390209" y="3670989"/>
            <a:ext cx="7295267" cy="2369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A secret is an object that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Contains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a small amount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of sensitive data s</a:t>
            </a:r>
            <a:r>
              <a:rPr kumimoji="0" lang="en-US" sz="4800" b="1" i="0" u="none" strike="noStrike" kern="1200" cap="none" spc="-150" normalizeH="0" baseline="0" noProof="0" dirty="0" err="1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uch</a:t>
            </a: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as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a password, a token</a:t>
            </a:r>
          </a:p>
        </p:txBody>
      </p:sp>
    </p:spTree>
    <p:extLst>
      <p:ext uri="{BB962C8B-B14F-4D97-AF65-F5344CB8AC3E}">
        <p14:creationId xmlns:p14="http://schemas.microsoft.com/office/powerpoint/2010/main" val="3776475598"/>
      </p:ext>
    </p:extLst>
  </p:cSld>
  <p:clrMapOvr>
    <a:masterClrMapping/>
  </p:clrMapOvr>
  <p:transition spd="med"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026ED-FBA0-FF84-2CE3-C058E7EB9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E96D341-B523-C9A2-8C14-B43525A02B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801693-65B2-9362-4326-302A6270EA89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ilroy LİGHT" panose="00000400000000000000"/>
              </a:rPr>
              <a:t>Kubernetes Secre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B940AF-3B83-FBE4-7E3F-8260E035DCCE}"/>
              </a:ext>
            </a:extLst>
          </p:cNvPr>
          <p:cNvSpPr txBox="1"/>
          <p:nvPr/>
        </p:nvSpPr>
        <p:spPr>
          <a:xfrm>
            <a:off x="1078523" y="1271228"/>
            <a:ext cx="80712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Avoids storing secrets in container images in files or deployment manif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Mount secrets into pods as files or as environment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ilroy LİGHT" panose="00000400000000000000"/>
              </a:rPr>
              <a:t>Kubernetes only makes secrets available to nodes that have a pod </a:t>
            </a:r>
            <a:r>
              <a:rPr lang="en-US" b="1" dirty="0" err="1">
                <a:latin typeface="Gilroy LİGHT" panose="00000400000000000000"/>
              </a:rPr>
              <a:t>requeting</a:t>
            </a:r>
            <a:r>
              <a:rPr lang="en-US" b="1" dirty="0">
                <a:latin typeface="Gilroy LİGHT" panose="00000400000000000000"/>
              </a:rPr>
              <a:t> the secr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Gilroy LİGHT" panose="0000040000000000000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354038-3F2B-16CF-DA8F-211921607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9780" y="1544940"/>
            <a:ext cx="2605165" cy="4021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804981"/>
      </p:ext>
    </p:extLst>
  </p:cSld>
  <p:clrMapOvr>
    <a:masterClrMapping/>
  </p:clrMapOvr>
  <p:transition spd="med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E4F30F-6BCE-87B8-1075-67FB93109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4F5540-6B06-E568-AB39-CEBCA0D2AF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1B478B-0D26-C105-F661-9698B4477CD3}"/>
              </a:ext>
            </a:extLst>
          </p:cNvPr>
          <p:cNvSpPr txBox="1"/>
          <p:nvPr/>
        </p:nvSpPr>
        <p:spPr>
          <a:xfrm>
            <a:off x="827721" y="738554"/>
            <a:ext cx="4541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latin typeface="Gilroy LİGHT" panose="00000400000000000000"/>
              </a:rPr>
              <a:t>ConfigMap</a:t>
            </a:r>
            <a:r>
              <a:rPr lang="en-US" sz="2400" b="1" dirty="0">
                <a:latin typeface="Gilroy LİGHT" panose="00000400000000000000"/>
              </a:rPr>
              <a:t> vs Secr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D23173-3BF8-F098-AA01-AB7915360D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3975" y="1357312"/>
            <a:ext cx="9544050" cy="414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32416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4DCBD0A-4D08-43D2-9C44-3A75043E0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1375" y="510049"/>
            <a:ext cx="5429250" cy="5837903"/>
          </a:xfrm>
          <a:prstGeom prst="rect">
            <a:avLst/>
          </a:prstGeom>
        </p:spPr>
      </p:pic>
      <p:pic>
        <p:nvPicPr>
          <p:cNvPr id="1026" name="Picture 2" descr="Don&amp;#39;t Let Unreasonable Expectations Doom Your Workplace Like It Almost Did  to WandaVision | LaptrinhX">
            <a:extLst>
              <a:ext uri="{FF2B5EF4-FFF2-40B4-BE49-F238E27FC236}">
                <a16:creationId xmlns:a16="http://schemas.microsoft.com/office/drawing/2014/main" id="{B7C1DBA9-48E7-4668-95AF-B363A7CDD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9335671"/>
      </p:ext>
    </p:extLst>
  </p:cSld>
  <p:clrMapOvr>
    <a:masterClrMapping/>
  </p:clrMapOvr>
  <p:transition spd="med"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A3F60-CCEA-DFC7-5523-039CA6A58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1CB2841-0FE3-EDD7-30D2-2F38D47C7088}"/>
              </a:ext>
            </a:extLst>
          </p:cNvPr>
          <p:cNvSpPr txBox="1"/>
          <p:nvPr/>
        </p:nvSpPr>
        <p:spPr>
          <a:xfrm>
            <a:off x="390209" y="3670989"/>
            <a:ext cx="4787464" cy="6056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Kubernetes Done !!!</a:t>
            </a:r>
          </a:p>
        </p:txBody>
      </p:sp>
    </p:spTree>
    <p:extLst>
      <p:ext uri="{BB962C8B-B14F-4D97-AF65-F5344CB8AC3E}">
        <p14:creationId xmlns:p14="http://schemas.microsoft.com/office/powerpoint/2010/main" val="1663786236"/>
      </p:ext>
    </p:extLst>
  </p:cSld>
  <p:clrMapOvr>
    <a:masterClrMapping/>
  </p:clrMapOvr>
  <p:transition spd="med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B357C6BC-4D3D-3F75-29B8-24ADFE4B38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9175" y="1582511"/>
            <a:ext cx="9997168" cy="320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703932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D80A10C-2ADE-D9F7-B046-4C84B30A01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5133" y="2830967"/>
            <a:ext cx="5887007" cy="31997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0F1D6A-6A78-C5FD-C48D-374B09C746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860" y="626720"/>
            <a:ext cx="6075356" cy="2900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156010"/>
      </p:ext>
    </p:extLst>
  </p:cSld>
  <p:clrMapOvr>
    <a:masterClrMapping/>
  </p:clrMapOvr>
  <p:transition spd="med"/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7448" y="790519"/>
            <a:ext cx="699341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hangingPunct="1">
              <a:defRPr spc="-200">
                <a:latin typeface="Montserrat-Bold"/>
                <a:ea typeface="Montserrat-Bold"/>
                <a:cs typeface="Montserrat-Bold"/>
                <a:sym typeface="Montserrat-Bold"/>
              </a:defRPr>
            </a:pPr>
            <a:r>
              <a:rPr lang="en-GB" altLang="en-US" sz="3000" dirty="0">
                <a:latin typeface="Gilroy Bold" panose="00000800000000000000" charset="0"/>
              </a:rPr>
              <a:t>CI/CD Tools</a:t>
            </a:r>
            <a:endParaRPr lang="en-GB" sz="3000" dirty="0">
              <a:solidFill>
                <a:srgbClr val="EA3675"/>
              </a:solidFill>
              <a:latin typeface="Gilroy Bold" panose="00000800000000000000" charset="0"/>
              <a:ea typeface="Gilroy-Bold ☞" charset="0"/>
              <a:cs typeface="Gilroy-Bold ☞" charset="0"/>
              <a:sym typeface="Montserrat-Bold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F393F44-1C5A-4EE9-8E64-75F748119AE8}"/>
              </a:ext>
            </a:extLst>
          </p:cNvPr>
          <p:cNvCxnSpPr>
            <a:cxnSpLocks/>
          </p:cNvCxnSpPr>
          <p:nvPr/>
        </p:nvCxnSpPr>
        <p:spPr>
          <a:xfrm flipH="1" flipV="1">
            <a:off x="377448" y="1333528"/>
            <a:ext cx="10839976" cy="1"/>
          </a:xfrm>
          <a:prstGeom prst="line">
            <a:avLst/>
          </a:prstGeom>
          <a:noFill/>
          <a:ln w="19050" cap="flat">
            <a:solidFill>
              <a:schemeClr val="tx2">
                <a:lumMod val="60000"/>
                <a:lumOff val="4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Picture 3" descr="A screenshot of a video game&#10;&#10;Description automatically generated">
            <a:extLst>
              <a:ext uri="{FF2B5EF4-FFF2-40B4-BE49-F238E27FC236}">
                <a16:creationId xmlns:a16="http://schemas.microsoft.com/office/drawing/2014/main" id="{78CC0A35-6F5F-4C1F-8938-BA8BF61C8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212" y="1586631"/>
            <a:ext cx="10461212" cy="480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523800"/>
      </p:ext>
    </p:extLst>
  </p:cSld>
  <p:clrMapOvr>
    <a:masterClrMapping/>
  </p:clrMapOvr>
  <p:transition spd="med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7448" y="790519"/>
            <a:ext cx="699341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hangingPunct="1">
              <a:defRPr spc="-200">
                <a:latin typeface="Montserrat-Bold"/>
                <a:ea typeface="Montserrat-Bold"/>
                <a:cs typeface="Montserrat-Bold"/>
                <a:sym typeface="Montserrat-Bold"/>
              </a:defRPr>
            </a:pPr>
            <a:r>
              <a:rPr lang="en-GB" altLang="en-US" sz="3000" dirty="0">
                <a:latin typeface="Gilroy Bold" panose="00000800000000000000" charset="0"/>
              </a:rPr>
              <a:t>Pipelines </a:t>
            </a:r>
            <a:endParaRPr lang="en-GB" sz="3000" dirty="0">
              <a:solidFill>
                <a:srgbClr val="EA3675"/>
              </a:solidFill>
              <a:latin typeface="Gilroy Bold" panose="00000800000000000000" charset="0"/>
              <a:ea typeface="Gilroy-Bold ☞" charset="0"/>
              <a:cs typeface="Gilroy-Bold ☞" charset="0"/>
              <a:sym typeface="Montserrat-Bold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F393F44-1C5A-4EE9-8E64-75F748119AE8}"/>
              </a:ext>
            </a:extLst>
          </p:cNvPr>
          <p:cNvCxnSpPr>
            <a:cxnSpLocks/>
          </p:cNvCxnSpPr>
          <p:nvPr/>
        </p:nvCxnSpPr>
        <p:spPr>
          <a:xfrm flipH="1" flipV="1">
            <a:off x="377448" y="1333528"/>
            <a:ext cx="10839976" cy="1"/>
          </a:xfrm>
          <a:prstGeom prst="line">
            <a:avLst/>
          </a:prstGeom>
          <a:noFill/>
          <a:ln w="19050" cap="flat">
            <a:solidFill>
              <a:schemeClr val="tx2">
                <a:lumMod val="60000"/>
                <a:lumOff val="4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DC587CD-331C-4578-96BF-78FBBBA1B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8290" y="1414873"/>
            <a:ext cx="6076950" cy="45576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0DD7E6C-22AA-418F-BB6F-13E74669FAFF}"/>
              </a:ext>
            </a:extLst>
          </p:cNvPr>
          <p:cNvSpPr txBox="1"/>
          <p:nvPr/>
        </p:nvSpPr>
        <p:spPr>
          <a:xfrm>
            <a:off x="914400" y="2060294"/>
            <a:ext cx="26158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dirty="0"/>
              <a:t>Declarative Pipelin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dirty="0"/>
              <a:t>Script Pipeline</a:t>
            </a:r>
          </a:p>
        </p:txBody>
      </p:sp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67A7F0F-008E-4EC3-BE61-2CB254845C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055716">
            <a:off x="820578" y="4088739"/>
            <a:ext cx="2795565" cy="138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060418"/>
      </p:ext>
    </p:extLst>
  </p:cSld>
  <p:clrMapOvr>
    <a:masterClrMapping/>
  </p:clrMapOvr>
  <p:transition spd="med"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07321" y="486919"/>
            <a:ext cx="699341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hangingPunct="1">
              <a:defRPr spc="-200">
                <a:latin typeface="Montserrat-Bold"/>
                <a:ea typeface="Montserrat-Bold"/>
                <a:cs typeface="Montserrat-Bold"/>
                <a:sym typeface="Montserrat-Bold"/>
              </a:defRPr>
            </a:pPr>
            <a:r>
              <a:rPr lang="en-GB" altLang="en-US" sz="3000" dirty="0">
                <a:latin typeface="Gilroy Bold" panose="00000800000000000000" charset="0"/>
              </a:rPr>
              <a:t>Demo </a:t>
            </a:r>
            <a:endParaRPr lang="en-GB" sz="3000" dirty="0">
              <a:solidFill>
                <a:srgbClr val="EA3675"/>
              </a:solidFill>
              <a:latin typeface="Gilroy Bold" panose="00000800000000000000" charset="0"/>
              <a:ea typeface="Gilroy-Bold ☞" charset="0"/>
              <a:cs typeface="Gilroy-Bold ☞" charset="0"/>
              <a:sym typeface="Montserrat-Bold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F393F44-1C5A-4EE9-8E64-75F748119AE8}"/>
              </a:ext>
            </a:extLst>
          </p:cNvPr>
          <p:cNvCxnSpPr>
            <a:cxnSpLocks/>
          </p:cNvCxnSpPr>
          <p:nvPr/>
        </p:nvCxnSpPr>
        <p:spPr>
          <a:xfrm flipH="1" flipV="1">
            <a:off x="377448" y="1333528"/>
            <a:ext cx="10839976" cy="1"/>
          </a:xfrm>
          <a:prstGeom prst="line">
            <a:avLst/>
          </a:prstGeom>
          <a:noFill/>
          <a:ln w="19050" cap="flat">
            <a:solidFill>
              <a:schemeClr val="tx2">
                <a:lumMod val="60000"/>
                <a:lumOff val="4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DA36434-A9CA-439C-9A11-49C3201B5E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1333528"/>
            <a:ext cx="12192000" cy="546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377208"/>
      </p:ext>
    </p:extLst>
  </p:cSld>
  <p:clrMapOvr>
    <a:masterClrMapping/>
  </p:clrMapOvr>
  <p:transition spd="med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ABDD41A-2639-A310-08A7-F29F97757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63" y="1104900"/>
            <a:ext cx="10048875" cy="464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821823-373B-F97F-3DC8-BBB9FB5BB4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05124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AFA2B-197E-EA8E-4E9C-645DEFF1F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22959EC-6A05-823A-2CB0-629DC660CB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B3AF9C-B959-0504-D650-D0973A5F46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7584" y="626720"/>
            <a:ext cx="4533400" cy="587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43740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TextBox 5"/>
          <p:cNvSpPr txBox="1"/>
          <p:nvPr/>
        </p:nvSpPr>
        <p:spPr>
          <a:xfrm>
            <a:off x="8703449" y="3167844"/>
            <a:ext cx="3286156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tr-TR" dirty="0" err="1">
                <a:solidFill>
                  <a:schemeClr val="bg1"/>
                </a:solidFill>
                <a:latin typeface="Gilroy Medium" panose="00000600000000000000" pitchFamily="50" charset="0"/>
                <a:ea typeface="Gilroy-Medium ☞" charset="0"/>
                <a:cs typeface="Gilroy-Medium ☞" charset="0"/>
              </a:rPr>
              <a:t>Thank You.</a:t>
            </a:r>
            <a:endParaRPr dirty="0">
              <a:solidFill>
                <a:schemeClr val="bg1"/>
              </a:solidFill>
              <a:latin typeface="Gilroy Medium" panose="00000600000000000000" pitchFamily="50" charset="0"/>
              <a:ea typeface="Gilroy-Medium ☞" charset="0"/>
              <a:cs typeface="Gilroy-Medium ☞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27984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>
            <a:extLst>
              <a:ext uri="{FF2B5EF4-FFF2-40B4-BE49-F238E27FC236}">
                <a16:creationId xmlns:a16="http://schemas.microsoft.com/office/drawing/2014/main" id="{D86E9833-1427-49E7-A064-A56CB47EEA53}"/>
              </a:ext>
            </a:extLst>
          </p:cNvPr>
          <p:cNvSpPr txBox="1"/>
          <p:nvPr/>
        </p:nvSpPr>
        <p:spPr>
          <a:xfrm>
            <a:off x="570372" y="1997873"/>
            <a:ext cx="10487025" cy="4524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indent="-285750" defTabSz="914330" hangingPunct="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Exploring the DevOps Mindset and Culture</a:t>
            </a:r>
            <a:endParaRPr lang="en-US" sz="1600" dirty="0">
              <a:solidFill>
                <a:srgbClr val="000000"/>
              </a:solidFill>
              <a:latin typeface="Gilroy Light" panose="00000400000000000000" pitchFamily="50" charset="0"/>
            </a:endParaRP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Understanding the Core Structure of Kubernetes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Managing Pods and Containers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Utilizing Networking and Services in Kubernetes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Managing Persistent Storage in Kubernetes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Handling Configuration and Secrets with </a:t>
            </a:r>
            <a:r>
              <a:rPr lang="en-US" sz="1600" dirty="0" err="1">
                <a:solidFill>
                  <a:srgbClr val="000000"/>
                </a:solidFill>
                <a:latin typeface="Gilroy Light" panose="00000400000000000000" pitchFamily="50" charset="0"/>
              </a:rPr>
              <a:t>ConfigMaps</a:t>
            </a: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 and Secrets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>
                <a:solidFill>
                  <a:srgbClr val="000000"/>
                </a:solidFill>
                <a:latin typeface="Gilroy Light" panose="00000400000000000000" pitchFamily="50" charset="0"/>
              </a:rPr>
              <a:t>Combining All Kubernetes Components to Run a Complete Application</a:t>
            </a: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/>
              <a:t>Setting Up Jenkins on Kubernetes</a:t>
            </a:r>
            <a:endParaRPr lang="en-US" sz="1600" dirty="0">
              <a:solidFill>
                <a:srgbClr val="000000"/>
              </a:solidFill>
              <a:latin typeface="Gilroy Light" panose="00000400000000000000" pitchFamily="50" charset="0"/>
            </a:endParaRPr>
          </a:p>
          <a:p>
            <a:pPr marL="285750" marR="0" indent="-285750" algn="l" defTabSz="914330" rtl="0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/>
              <a:t>Building a CI/CD Pipeline on Kubernetes</a:t>
            </a:r>
            <a:endParaRPr lang="en-US" sz="1600" dirty="0">
              <a:solidFill>
                <a:srgbClr val="000000"/>
              </a:solidFill>
              <a:latin typeface="Gilroy Light" panose="00000400000000000000" pitchFamily="50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D70846-DB20-4C43-AAF4-7F0DF67F3B44}"/>
              </a:ext>
            </a:extLst>
          </p:cNvPr>
          <p:cNvSpPr txBox="1">
            <a:spLocks/>
          </p:cNvSpPr>
          <p:nvPr/>
        </p:nvSpPr>
        <p:spPr>
          <a:xfrm>
            <a:off x="316539" y="1291704"/>
            <a:ext cx="5959854" cy="374717"/>
          </a:xfrm>
          <a:prstGeom prst="rect">
            <a:avLst/>
          </a:prstGeom>
        </p:spPr>
        <p:txBody>
          <a:bodyPr/>
          <a:lstStyle>
            <a:lvl1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indent="0" algn="l" defTabSz="914318" rtl="0" latinLnBrk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1" i="0" u="none" strike="noStrike" cap="none" spc="-151" baseline="0">
                <a:solidFill>
                  <a:srgbClr val="001847"/>
                </a:solidFill>
                <a:uFillTx/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hangingPunct="1">
              <a:lnSpc>
                <a:spcPct val="100000"/>
              </a:lnSpc>
              <a:defRPr spc="-200">
                <a:latin typeface="Montserrat-Bold"/>
                <a:ea typeface="Montserrat-Bold"/>
                <a:cs typeface="Montserrat-Bold"/>
                <a:sym typeface="Montserrat-Bold"/>
              </a:defRPr>
            </a:pPr>
            <a:r>
              <a:rPr lang="en-GB" sz="2000" b="0" spc="0" dirty="0">
                <a:solidFill>
                  <a:srgbClr val="0037FF"/>
                </a:solidFill>
                <a:latin typeface="Gilroy Light" panose="00000400000000000000" pitchFamily="50" charset="0"/>
                <a:ea typeface="Arial" charset="0"/>
                <a:cs typeface="Arial" charset="0"/>
                <a:sym typeface="Montserrat-Bold"/>
              </a:rPr>
              <a:t>At the end of this training…</a:t>
            </a:r>
            <a:endParaRPr lang="en-GB" sz="2400" spc="0" dirty="0">
              <a:solidFill>
                <a:srgbClr val="0037FF"/>
              </a:solidFill>
              <a:latin typeface="Gilroy Light" panose="00000400000000000000" pitchFamily="50" charset="0"/>
              <a:ea typeface="Arial" charset="0"/>
              <a:cs typeface="Arial" charset="0"/>
              <a:sym typeface="Montserrat-Bold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1572F5-3B52-3CBF-124D-F54C5C7CA7E9}"/>
              </a:ext>
            </a:extLst>
          </p:cNvPr>
          <p:cNvSpPr txBox="1"/>
          <p:nvPr/>
        </p:nvSpPr>
        <p:spPr>
          <a:xfrm>
            <a:off x="377446" y="790519"/>
            <a:ext cx="11340000" cy="377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33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tr-TR" sz="3000" b="1" i="0" u="none" strike="noStrike" kern="0" cap="none" spc="-1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Objectives</a:t>
            </a:r>
            <a:endParaRPr kumimoji="0" lang="en-US" sz="3000" b="1" i="0" u="none" strike="noStrike" kern="0" cap="none" spc="-1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Light" panose="00000400000000000000" pitchFamily="50" charset="0"/>
              <a:ea typeface="Gilroy-Bold ☞" charset="0"/>
              <a:cs typeface="Gilroy-Bold ☞" charset="0"/>
              <a:sym typeface="Gilroy" panose="00000500000000000000" pitchFamily="50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7D0B77-D3F1-C925-5748-B4C0C4B9FB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46" y="260308"/>
            <a:ext cx="900550" cy="36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28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170016B-1FE4-42DB-9A43-3139CCC5E6FE}"/>
              </a:ext>
            </a:extLst>
          </p:cNvPr>
          <p:cNvSpPr txBox="1"/>
          <p:nvPr/>
        </p:nvSpPr>
        <p:spPr>
          <a:xfrm>
            <a:off x="390209" y="3670989"/>
            <a:ext cx="7383624" cy="1196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kumimoji="0" lang="en-US" sz="4800" b="1" i="0" u="none" strike="noStrike" kern="1200" cap="none" spc="-150" normalizeH="0" baseline="0" noProof="0" dirty="0">
                <a:ln>
                  <a:noFill/>
                </a:ln>
                <a:solidFill>
                  <a:srgbClr val="0037FF"/>
                </a:solidFill>
                <a:effectLst/>
                <a:uLnTx/>
                <a:uFillTx/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DevOps is a path to improving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rgbClr val="EA3675"/>
                </a:solidFill>
                <a:latin typeface="Montserrat"/>
                <a:ea typeface="Montserrat"/>
                <a:cs typeface="Montserrat"/>
                <a:sym typeface="Montserrat"/>
              </a:defRPr>
            </a:pP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your </a:t>
            </a:r>
            <a:r>
              <a:rPr lang="en-US" sz="4800" b="1" spc="-150" dirty="0" err="1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compotitive</a:t>
            </a:r>
            <a:r>
              <a:rPr lang="en-US" sz="4800" b="1" spc="-150" dirty="0">
                <a:solidFill>
                  <a:srgbClr val="0037FF"/>
                </a:solidFill>
                <a:latin typeface="Gilroy Light" panose="00000400000000000000" pitchFamily="50" charset="0"/>
                <a:ea typeface="Gilroy-Bold ☞" charset="0"/>
                <a:cs typeface="Gilroy-Bold ☞" charset="0"/>
                <a:sym typeface="Gilroy" panose="00000500000000000000" pitchFamily="50" charset="0"/>
              </a:rPr>
              <a:t> position</a:t>
            </a:r>
          </a:p>
        </p:txBody>
      </p:sp>
    </p:spTree>
    <p:extLst>
      <p:ext uri="{BB962C8B-B14F-4D97-AF65-F5344CB8AC3E}">
        <p14:creationId xmlns:p14="http://schemas.microsoft.com/office/powerpoint/2010/main" val="404744393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EFA4DB-22F4-946C-0AD3-8288FD7720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333" r="446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9328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efineX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37FF"/>
      </a:accent1>
      <a:accent2>
        <a:srgbClr val="FF0000"/>
      </a:accent2>
      <a:accent3>
        <a:srgbClr val="38D32C"/>
      </a:accent3>
      <a:accent4>
        <a:srgbClr val="0037FF"/>
      </a:accent4>
      <a:accent5>
        <a:srgbClr val="0037FF"/>
      </a:accent5>
      <a:accent6>
        <a:srgbClr val="0037FF"/>
      </a:accent6>
      <a:hlink>
        <a:srgbClr val="0037FF"/>
      </a:hlink>
      <a:folHlink>
        <a:srgbClr val="00ACFF"/>
      </a:folHlink>
    </a:clrScheme>
    <a:fontScheme name="Gilroy">
      <a:majorFont>
        <a:latin typeface="Gilroy Black"/>
        <a:ea typeface=""/>
        <a:cs typeface=""/>
      </a:majorFont>
      <a:minorFont>
        <a:latin typeface="Gilro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ineX_presentation_templates" id="{0FB3C489-B4B2-4D43-A644-57C88FE05EE8}" vid="{2C7FE1A1-D729-C746-B31E-6F3687B1C3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elge" ma:contentTypeID="0x01010099C2E243B0CDEB4DAE98F5E300EA92CA" ma:contentTypeVersion="9" ma:contentTypeDescription="Yeni belge oluşturun." ma:contentTypeScope="" ma:versionID="92ae5dd761dfb001e72dd7cf002ae9ce">
  <xsd:schema xmlns:xsd="http://www.w3.org/2001/XMLSchema" xmlns:xs="http://www.w3.org/2001/XMLSchema" xmlns:p="http://schemas.microsoft.com/office/2006/metadata/properties" xmlns:ns2="f38a96a9-7bae-4824-a2c5-17275cf8681a" xmlns:ns3="1d48fb01-0d57-4ab1-b23b-88f9e2d9bec9" targetNamespace="http://schemas.microsoft.com/office/2006/metadata/properties" ma:root="true" ma:fieldsID="44ba3b9af74d24baadc0ead01e1872b2" ns2:_="" ns3:_="">
    <xsd:import namespace="f38a96a9-7bae-4824-a2c5-17275cf8681a"/>
    <xsd:import namespace="1d48fb01-0d57-4ab1-b23b-88f9e2d9be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8a96a9-7bae-4824-a2c5-17275cf868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48fb01-0d57-4ab1-b23b-88f9e2d9bec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ylaşılanla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Ayrıntıları ile Paylaşıld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İçerik Türü"/>
        <xsd:element ref="dc:title" minOccurs="0" maxOccurs="1" ma:index="4" ma:displayName="Başlı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6D0AA8-D27D-444E-B9A1-4522F1459EB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62DC27E-E126-4C3D-8C6B-C11918A41B9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50C622-695E-4FD5-9EC0-DA4A9B765E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8a96a9-7bae-4824-a2c5-17275cf8681a"/>
    <ds:schemaRef ds:uri="1d48fb01-0d57-4ab1-b23b-88f9e2d9be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23</TotalTime>
  <Words>5757</Words>
  <Application>Microsoft Office PowerPoint</Application>
  <PresentationFormat>Widescreen</PresentationFormat>
  <Paragraphs>627</Paragraphs>
  <Slides>68</Slides>
  <Notes>6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6" baseType="lpstr">
      <vt:lpstr>Arial</vt:lpstr>
      <vt:lpstr>Wingdings</vt:lpstr>
      <vt:lpstr>Symbol</vt:lpstr>
      <vt:lpstr>Helvetica</vt:lpstr>
      <vt:lpstr>sf pro text</vt:lpstr>
      <vt:lpstr>Gilroy Bold</vt:lpstr>
      <vt:lpstr>Calibri</vt:lpstr>
      <vt:lpstr>Gilroy Light</vt:lpstr>
      <vt:lpstr>Gilroy Black</vt:lpstr>
      <vt:lpstr>Gilroy Heavy</vt:lpstr>
      <vt:lpstr>Gilroy</vt:lpstr>
      <vt:lpstr>Gilroy Medium</vt:lpstr>
      <vt:lpstr>Roboto</vt:lpstr>
      <vt:lpstr>Gilroy LİGHT</vt:lpstr>
      <vt:lpstr>Aptos</vt:lpstr>
      <vt:lpstr>Courier New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tugrul Sen</dc:creator>
  <cp:lastModifiedBy>Ertugrul Sen</cp:lastModifiedBy>
  <cp:revision>81</cp:revision>
  <dcterms:created xsi:type="dcterms:W3CDTF">2021-01-31T18:32:13Z</dcterms:created>
  <dcterms:modified xsi:type="dcterms:W3CDTF">2024-11-09T19:06:37Z</dcterms:modified>
</cp:coreProperties>
</file>